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1" r:id="rId2"/>
    <p:sldId id="262" r:id="rId3"/>
    <p:sldId id="257" r:id="rId4"/>
    <p:sldId id="258" r:id="rId5"/>
    <p:sldId id="259" r:id="rId6"/>
    <p:sldId id="260" r:id="rId7"/>
  </p:sldIdLst>
  <p:sldSz cx="9906000" cy="6858000" type="A4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6" d="100"/>
          <a:sy n="86" d="100"/>
        </p:scale>
        <p:origin x="-102" y="-570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6_ALL_E85 (version 2).xlsb]Tabelle1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B$6:$B$7</c:f>
              <c:numCache>
                <c:formatCode>General</c:formatCode>
                <c:ptCount val="2"/>
                <c:pt idx="0">
                  <c:v>0.6067554126537078</c:v>
                </c:pt>
                <c:pt idx="1">
                  <c:v>0.6690553888477198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C$6:$C$7</c:f>
              <c:numCache>
                <c:formatCode>General</c:formatCode>
                <c:ptCount val="2"/>
                <c:pt idx="0">
                  <c:v>0.6500774672721279</c:v>
                </c:pt>
                <c:pt idx="1">
                  <c:v>0.6772259670442710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1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D$6:$D$7</c:f>
              <c:numCache>
                <c:formatCode>General</c:formatCode>
                <c:ptCount val="2"/>
                <c:pt idx="0">
                  <c:v>0.66524387772458293</c:v>
                </c:pt>
                <c:pt idx="1">
                  <c:v>0.6608419616499206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1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E$6:$E$7</c:f>
              <c:numCache>
                <c:formatCode>General</c:formatCode>
                <c:ptCount val="2"/>
                <c:pt idx="1">
                  <c:v>0.677567166401248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8198912"/>
        <c:axId val="460599296"/>
      </c:lineChart>
      <c:catAx>
        <c:axId val="42819891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60599296"/>
        <c:crosses val="autoZero"/>
        <c:auto val="1"/>
        <c:lblAlgn val="ctr"/>
        <c:lblOffset val="100"/>
        <c:noMultiLvlLbl val="0"/>
      </c:catAx>
      <c:valAx>
        <c:axId val="460599296"/>
        <c:scaling>
          <c:orientation val="minMax"/>
          <c:max val="0.8"/>
          <c:min val="0.5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chip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2819891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47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372.55448086304932</c:v>
                </c:pt>
                <c:pt idx="1">
                  <c:v>595.8519041238350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633.70770579748159</c:v>
                </c:pt>
                <c:pt idx="1">
                  <c:v>840.8032046853936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1">
                  <c:v>1709.849301258181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3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E$6:$E$8</c:f>
              <c:numCache>
                <c:formatCode>General</c:formatCode>
                <c:ptCount val="2"/>
                <c:pt idx="1">
                  <c:v>1973.295880691026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0332928"/>
        <c:axId val="190334464"/>
      </c:lineChart>
      <c:catAx>
        <c:axId val="190332928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0334464"/>
        <c:crosses val="autoZero"/>
        <c:auto val="1"/>
        <c:lblAlgn val="ctr"/>
        <c:lblOffset val="100"/>
        <c:noMultiLvlLbl val="0"/>
      </c:catAx>
      <c:valAx>
        <c:axId val="190334464"/>
        <c:scaling>
          <c:orientation val="minMax"/>
          <c:max val="2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 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401073083382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033292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5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1565362814646824</c:v>
                </c:pt>
                <c:pt idx="1">
                  <c:v>0.1821529146757787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18657391630355111</c:v>
                </c:pt>
                <c:pt idx="1">
                  <c:v>0.1863624653400499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1">
                  <c:v>0.2830455980482140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3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E$6:$E$8</c:f>
              <c:numCache>
                <c:formatCode>General</c:formatCode>
                <c:ptCount val="2"/>
                <c:pt idx="1">
                  <c:v>0.2715653068432392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892672"/>
        <c:axId val="188894208"/>
      </c:lineChart>
      <c:catAx>
        <c:axId val="18889267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88894208"/>
        <c:crosses val="autoZero"/>
        <c:auto val="1"/>
        <c:lblAlgn val="ctr"/>
        <c:lblOffset val="100"/>
        <c:noMultiLvlLbl val="0"/>
      </c:catAx>
      <c:valAx>
        <c:axId val="188894208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5187266774279975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8889267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30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  <c:pivotFmt>
        <c:idx val="67"/>
      </c:pivotFmt>
      <c:pivotFmt>
        <c:idx val="68"/>
      </c:pivotFmt>
      <c:pivotFmt>
        <c:idx val="69"/>
      </c:pivotFmt>
      <c:pivotFmt>
        <c:idx val="70"/>
      </c:pivotFmt>
      <c:pivotFmt>
        <c:idx val="71"/>
      </c:pivotFmt>
      <c:pivotFmt>
        <c:idx val="72"/>
      </c:pivotFmt>
      <c:pivotFmt>
        <c:idx val="73"/>
      </c:pivotFmt>
      <c:pivotFmt>
        <c:idx val="74"/>
      </c:pivotFmt>
      <c:pivotFmt>
        <c:idx val="75"/>
      </c:pivotFmt>
      <c:pivotFmt>
        <c:idx val="76"/>
      </c:pivotFmt>
      <c:pivotFmt>
        <c:idx val="77"/>
      </c:pivotFmt>
      <c:pivotFmt>
        <c:idx val="78"/>
      </c:pivotFmt>
      <c:pivotFmt>
        <c:idx val="79"/>
      </c:pivotFmt>
      <c:pivotFmt>
        <c:idx val="80"/>
      </c:pivotFmt>
      <c:pivotFmt>
        <c:idx val="81"/>
      </c:pivotFmt>
      <c:pivotFmt>
        <c:idx val="82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302.47431516023073</c:v>
                </c:pt>
                <c:pt idx="1">
                  <c:v>249.5597664752948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236.60067597775833</c:v>
                </c:pt>
                <c:pt idx="1">
                  <c:v>295.0438902403661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1">
                  <c:v>315.7232178594789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3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E$6:$E$8</c:f>
              <c:numCache>
                <c:formatCode>General</c:formatCode>
                <c:ptCount val="2"/>
                <c:pt idx="1">
                  <c:v>312.0176268721236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8314880"/>
        <c:axId val="138316416"/>
      </c:lineChart>
      <c:catAx>
        <c:axId val="138314880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38316416"/>
        <c:crosses val="autoZero"/>
        <c:auto val="1"/>
        <c:lblAlgn val="ctr"/>
        <c:lblOffset val="100"/>
        <c:noMultiLvlLbl val="0"/>
      </c:catAx>
      <c:valAx>
        <c:axId val="138316416"/>
        <c:scaling>
          <c:orientation val="minMax"/>
          <c:max val="6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err="1" smtClean="0"/>
                  <a:t>Heat</a:t>
                </a:r>
                <a:r>
                  <a:rPr lang="de-DE" sz="1100" dirty="0" smtClean="0"/>
                  <a:t>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tool</a:t>
                </a:r>
                <a:r>
                  <a:rPr lang="de-DE" sz="1100" dirty="0" smtClean="0"/>
                  <a:t>) </a:t>
                </a:r>
                <a:r>
                  <a:rPr lang="de-DE" sz="1100" b="1" i="0" u="none" strike="noStrike" baseline="0" dirty="0" smtClean="0">
                    <a:effectLst/>
                  </a:rPr>
                  <a:t>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3831488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4.610239385166353E-2"/>
          <c:y val="4.3210156136497646E-2"/>
          <c:w val="0.95389760614833641"/>
          <c:h val="6.7631269651905981E-2"/>
        </c:manualLayout>
      </c:layout>
      <c:overlay val="0"/>
    </c:legend>
    <c:plotVisOnly val="1"/>
    <c:dispBlanksAs val="gap"/>
    <c:showDLblsOverMax val="0"/>
  </c:chart>
  <c:externalData r:id="rId1">
    <c:autoUpdate val="0"/>
  </c:externalData>
  <c:extLst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8_AISI1045_AISI4140_ALL_E85.xlsx]Tabelle3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963.47115982470723</c:v>
                </c:pt>
                <c:pt idx="1">
                  <c:v>1409.617478728134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1334.4973561901022</c:v>
                </c:pt>
                <c:pt idx="1">
                  <c:v>2211.46468691507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0798592"/>
        <c:axId val="461930880"/>
      </c:lineChart>
      <c:catAx>
        <c:axId val="46079859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61930880"/>
        <c:crosses val="autoZero"/>
        <c:auto val="1"/>
        <c:lblAlgn val="ctr"/>
        <c:lblOffset val="100"/>
        <c:noMultiLvlLbl val="0"/>
      </c:catAx>
      <c:valAx>
        <c:axId val="461930880"/>
        <c:scaling>
          <c:orientation val="minMax"/>
          <c:max val="3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 b="1"/>
                </a:pPr>
                <a:r>
                  <a:rPr lang="de-DE" sz="1100" b="1" dirty="0" smtClean="0"/>
                  <a:t>Heat </a:t>
                </a:r>
                <a:r>
                  <a:rPr lang="de-DE" sz="1100" b="1" dirty="0" err="1" smtClean="0"/>
                  <a:t>flow</a:t>
                </a:r>
                <a:r>
                  <a:rPr lang="de-DE" sz="1100" b="1" dirty="0" smtClean="0"/>
                  <a:t> (</a:t>
                </a:r>
                <a:r>
                  <a:rPr lang="de-DE" sz="1100" b="1" dirty="0" err="1" smtClean="0"/>
                  <a:t>chip</a:t>
                </a:r>
                <a:r>
                  <a:rPr lang="de-DE" sz="1100" b="1" dirty="0" smtClean="0"/>
                  <a:t>) [W]</a:t>
                </a:r>
                <a:endParaRPr lang="de-DE" sz="1100" b="1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607985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93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  <c:pivotFmt>
        <c:idx val="67"/>
      </c:pivotFmt>
      <c:pivotFmt>
        <c:idx val="68"/>
      </c:pivotFmt>
      <c:pivotFmt>
        <c:idx val="69"/>
      </c:pivotFmt>
      <c:pivotFmt>
        <c:idx val="70"/>
      </c:pivotFmt>
      <c:pivotFmt>
        <c:idx val="71"/>
      </c:pivotFmt>
      <c:pivotFmt>
        <c:idx val="72"/>
      </c:pivotFmt>
      <c:pivotFmt>
        <c:idx val="73"/>
      </c:pivotFmt>
      <c:pivotFmt>
        <c:idx val="74"/>
      </c:pivotFmt>
      <c:pivotFmt>
        <c:idx val="75"/>
      </c:pivotFmt>
      <c:pivotFmt>
        <c:idx val="76"/>
      </c:pivotFmt>
      <c:pivotFmt>
        <c:idx val="77"/>
      </c:pivotFmt>
      <c:pivotFmt>
        <c:idx val="78"/>
      </c:pivotFmt>
      <c:pivotFmt>
        <c:idx val="79"/>
      </c:pivotFmt>
      <c:pivotFmt>
        <c:idx val="80"/>
      </c:pivotFmt>
      <c:pivotFmt>
        <c:idx val="81"/>
      </c:pivotFmt>
      <c:pivotFmt>
        <c:idx val="82"/>
      </c:pivotFmt>
      <c:pivotFmt>
        <c:idx val="83"/>
      </c:pivotFmt>
      <c:pivotFmt>
        <c:idx val="84"/>
      </c:pivotFmt>
      <c:pivotFmt>
        <c:idx val="85"/>
      </c:pivotFmt>
      <c:pivotFmt>
        <c:idx val="86"/>
      </c:pivotFmt>
      <c:pivotFmt>
        <c:idx val="87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259.95805696407706</c:v>
                </c:pt>
                <c:pt idx="1">
                  <c:v>390.7405385600750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272.82664986049252</c:v>
                </c:pt>
                <c:pt idx="1">
                  <c:v>492.270569463090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0526208"/>
        <c:axId val="190527744"/>
      </c:lineChart>
      <c:catAx>
        <c:axId val="190526208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0527744"/>
        <c:crosses val="autoZero"/>
        <c:auto val="1"/>
        <c:lblAlgn val="ctr"/>
        <c:lblOffset val="100"/>
        <c:noMultiLvlLbl val="0"/>
      </c:catAx>
      <c:valAx>
        <c:axId val="190527744"/>
        <c:scaling>
          <c:orientation val="minMax"/>
          <c:max val="1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tool</a:t>
                </a:r>
                <a:r>
                  <a:rPr lang="de-DE" sz="1100" dirty="0" smtClean="0"/>
                  <a:t>) </a:t>
                </a:r>
                <a:r>
                  <a:rPr lang="de-DE" sz="1100" b="1" i="0" u="none" strike="noStrike" baseline="0" dirty="0" smtClean="0">
                    <a:effectLst/>
                  </a:rPr>
                  <a:t>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052620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3739943927798873"/>
          <c:y val="4.3210156136497646E-2"/>
          <c:w val="0.7879029781004725"/>
          <c:h val="9.0151521625802256E-2"/>
        </c:manualLayout>
      </c:layout>
      <c:overlay val="0"/>
    </c:legend>
    <c:plotVisOnly val="1"/>
    <c:dispBlanksAs val="gap"/>
    <c:showDLblsOverMax val="0"/>
  </c:chart>
  <c:externalData r:id="rId1">
    <c:autoUpdate val="0"/>
  </c:externalData>
  <c:extLst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75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  <c:pivotFmt>
        <c:idx val="67"/>
      </c:pivotFmt>
      <c:pivotFmt>
        <c:idx val="68"/>
      </c:pivotFmt>
      <c:pivotFmt>
        <c:idx val="69"/>
      </c:pivotFmt>
      <c:pivotFmt>
        <c:idx val="70"/>
      </c:pivotFmt>
      <c:pivotFmt>
        <c:idx val="71"/>
      </c:pivotFmt>
      <c:pivotFmt>
        <c:idx val="72"/>
      </c:pivotFmt>
      <c:pivotFmt>
        <c:idx val="73"/>
      </c:pivotFmt>
      <c:pivotFmt>
        <c:idx val="74"/>
      </c:pivotFmt>
      <c:pivotFmt>
        <c:idx val="75"/>
      </c:pivotFmt>
      <c:pivotFmt>
        <c:idx val="7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450.40334981429169</c:v>
                </c:pt>
                <c:pt idx="1">
                  <c:v>759.8659212320344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690.905895781749</c:v>
                </c:pt>
                <c:pt idx="1">
                  <c:v>650.8578237238516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364992"/>
        <c:axId val="179366528"/>
      </c:lineChart>
      <c:catAx>
        <c:axId val="179364992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79366528"/>
        <c:crosses val="autoZero"/>
        <c:auto val="1"/>
        <c:lblAlgn val="ctr"/>
        <c:lblOffset val="100"/>
        <c:noMultiLvlLbl val="0"/>
      </c:catAx>
      <c:valAx>
        <c:axId val="179366528"/>
        <c:scaling>
          <c:orientation val="minMax"/>
          <c:max val="2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 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401073083382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793649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8_AISI1045_AISI4140_ALL_E85.xlsx]Tabelle3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57560784695449163</c:v>
                </c:pt>
                <c:pt idx="1">
                  <c:v>0.5505836647800675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58066312474923754</c:v>
                </c:pt>
                <c:pt idx="1">
                  <c:v>0.6592348562430770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4700544"/>
        <c:axId val="464702080"/>
      </c:lineChart>
      <c:catAx>
        <c:axId val="46470054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64702080"/>
        <c:crosses val="autoZero"/>
        <c:auto val="1"/>
        <c:lblAlgn val="ctr"/>
        <c:lblOffset val="100"/>
        <c:noMultiLvlLbl val="0"/>
      </c:catAx>
      <c:valAx>
        <c:axId val="464702080"/>
        <c:scaling>
          <c:orientation val="minMax"/>
          <c:max val="0.8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chip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6470054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79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15530708515944544</c:v>
                </c:pt>
                <c:pt idx="1">
                  <c:v>0.1526196723189436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1187116439669382</c:v>
                </c:pt>
                <c:pt idx="1">
                  <c:v>0.146745240840990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6893952"/>
        <c:axId val="136895488"/>
      </c:lineChart>
      <c:catAx>
        <c:axId val="13689395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36895488"/>
        <c:crosses val="autoZero"/>
        <c:auto val="1"/>
        <c:lblAlgn val="ctr"/>
        <c:lblOffset val="100"/>
        <c:noMultiLvlLbl val="0"/>
      </c:catAx>
      <c:valAx>
        <c:axId val="136895488"/>
        <c:scaling>
          <c:orientation val="minMax"/>
          <c:max val="0.30000000000000004"/>
          <c:min val="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900"/>
                </a:pPr>
                <a:r>
                  <a:rPr lang="de-DE" sz="1100" b="1" i="0" baseline="0" dirty="0" smtClean="0">
                    <a:effectLst/>
                  </a:rPr>
                  <a:t>Heat </a:t>
                </a:r>
                <a:r>
                  <a:rPr lang="de-DE" sz="1100" b="1" i="0" baseline="0" dirty="0" err="1" smtClean="0">
                    <a:effectLst/>
                  </a:rPr>
                  <a:t>partition</a:t>
                </a:r>
                <a:r>
                  <a:rPr lang="de-DE" sz="1100" b="1" i="0" baseline="0" dirty="0" smtClean="0">
                    <a:effectLst/>
                  </a:rPr>
                  <a:t> (</a:t>
                </a:r>
                <a:r>
                  <a:rPr lang="de-DE" sz="1100" b="1" i="0" baseline="0" dirty="0" err="1" smtClean="0">
                    <a:effectLst/>
                  </a:rPr>
                  <a:t>tool</a:t>
                </a:r>
                <a:r>
                  <a:rPr lang="de-DE" sz="1100" b="1" i="0" baseline="0" dirty="0" smtClean="0">
                    <a:effectLst/>
                  </a:rPr>
                  <a:t>)</a:t>
                </a:r>
                <a:endParaRPr lang="de-DE" sz="9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3689395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59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26908506788606296</c:v>
                </c:pt>
                <c:pt idx="1">
                  <c:v>0.2967966629009887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30062523128382423</c:v>
                </c:pt>
                <c:pt idx="1">
                  <c:v>0.194019902915932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8331648"/>
        <c:axId val="138333184"/>
      </c:lineChart>
      <c:catAx>
        <c:axId val="13833164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38333184"/>
        <c:crosses val="autoZero"/>
        <c:auto val="1"/>
        <c:lblAlgn val="ctr"/>
        <c:lblOffset val="100"/>
        <c:noMultiLvlLbl val="0"/>
      </c:catAx>
      <c:valAx>
        <c:axId val="138333184"/>
        <c:scaling>
          <c:orientation val="minMax"/>
          <c:max val="0.4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5187266774279975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3833164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8_AISI1045_AISI4140_ALL_E85.xlsx]Tabelle3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1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522.0724874559139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1151.3421791638909</c:v>
                </c:pt>
                <c:pt idx="1">
                  <c:v>1737.791859373706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0">
                  <c:v>1658.4423786714713</c:v>
                </c:pt>
                <c:pt idx="1">
                  <c:v>2501.461982263059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1720320"/>
        <c:axId val="471721856"/>
      </c:lineChart>
      <c:catAx>
        <c:axId val="47172032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71721856"/>
        <c:crosses val="autoZero"/>
        <c:auto val="1"/>
        <c:lblAlgn val="ctr"/>
        <c:lblOffset val="100"/>
        <c:noMultiLvlLbl val="0"/>
      </c:catAx>
      <c:valAx>
        <c:axId val="471721856"/>
        <c:scaling>
          <c:orientation val="minMax"/>
          <c:max val="3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 b="1"/>
                </a:pPr>
                <a:r>
                  <a:rPr lang="de-DE" sz="1100" b="1" dirty="0" smtClean="0"/>
                  <a:t>Heat </a:t>
                </a:r>
                <a:r>
                  <a:rPr lang="de-DE" sz="1100" b="1" dirty="0" err="1" smtClean="0"/>
                  <a:t>flow</a:t>
                </a:r>
                <a:r>
                  <a:rPr lang="de-DE" sz="1100" b="1" dirty="0" smtClean="0"/>
                  <a:t> (</a:t>
                </a:r>
                <a:r>
                  <a:rPr lang="de-DE" sz="1100" b="1" dirty="0" err="1" smtClean="0"/>
                  <a:t>chip</a:t>
                </a:r>
                <a:r>
                  <a:rPr lang="de-DE" sz="1100" b="1" dirty="0" smtClean="0"/>
                  <a:t>) [W]</a:t>
                </a:r>
                <a:endParaRPr lang="de-DE" sz="1100" b="1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717203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39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12927389367259781</c:v>
                </c:pt>
                <c:pt idx="1">
                  <c:v>0.1304768556827771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8.0417522059170687E-2</c:v>
                </c:pt>
                <c:pt idx="1">
                  <c:v>9.3341475144649272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0">
                  <c:v>8.3984377307959254E-2</c:v>
                </c:pt>
                <c:pt idx="1">
                  <c:v>7.6208376385637752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3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E$6:$E$8</c:f>
              <c:numCache>
                <c:formatCode>General</c:formatCode>
                <c:ptCount val="2"/>
                <c:pt idx="1">
                  <c:v>6.656579208646228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580992"/>
        <c:axId val="188582528"/>
      </c:lineChart>
      <c:catAx>
        <c:axId val="188580992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88582528"/>
        <c:crosses val="autoZero"/>
        <c:auto val="1"/>
        <c:lblAlgn val="ctr"/>
        <c:lblOffset val="100"/>
        <c:noMultiLvlLbl val="0"/>
      </c:catAx>
      <c:valAx>
        <c:axId val="188582528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tool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885809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87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  <c:pivotFmt>
        <c:idx val="67"/>
      </c:pivotFmt>
      <c:pivotFmt>
        <c:idx val="68"/>
      </c:pivotFmt>
      <c:pivotFmt>
        <c:idx val="69"/>
      </c:pivotFmt>
      <c:pivotFmt>
        <c:idx val="70"/>
      </c:pivotFmt>
      <c:pivotFmt>
        <c:idx val="71"/>
      </c:pivotFmt>
      <c:pivotFmt>
        <c:idx val="72"/>
      </c:pivotFmt>
      <c:pivotFmt>
        <c:idx val="73"/>
      </c:pivotFmt>
      <c:pivotFmt>
        <c:idx val="74"/>
      </c:pivotFmt>
      <c:pivotFmt>
        <c:idx val="75"/>
      </c:pivotFmt>
      <c:pivotFmt>
        <c:idx val="76"/>
      </c:pivotFmt>
      <c:pivotFmt>
        <c:idx val="77"/>
      </c:pivotFmt>
      <c:pivotFmt>
        <c:idx val="78"/>
      </c:pivotFmt>
      <c:pivotFmt>
        <c:idx val="79"/>
      </c:pivotFmt>
      <c:pivotFmt>
        <c:idx val="80"/>
      </c:pivotFmt>
      <c:pivotFmt>
        <c:idx val="81"/>
      </c:pivotFmt>
      <c:pivotFmt>
        <c:idx val="82"/>
      </c:pivotFmt>
      <c:pivotFmt>
        <c:idx val="83"/>
      </c:pivotFmt>
      <c:pivotFmt>
        <c:idx val="84"/>
      </c:pivotFmt>
      <c:pivotFmt>
        <c:idx val="85"/>
      </c:pivotFmt>
      <c:pivotFmt>
        <c:idx val="86"/>
      </c:pivotFmt>
      <c:pivotFmt>
        <c:idx val="87"/>
      </c:pivotFmt>
      <c:pivotFmt>
        <c:idx val="88"/>
      </c:pivotFmt>
      <c:pivotFmt>
        <c:idx val="89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1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72.35554399284458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144.40634749518213</c:v>
                </c:pt>
                <c:pt idx="1">
                  <c:v>240.7024545985867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0">
                  <c:v>152.82174028266391</c:v>
                </c:pt>
                <c:pt idx="1">
                  <c:v>365.3967503060783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0556800"/>
        <c:axId val="191656320"/>
      </c:lineChart>
      <c:catAx>
        <c:axId val="190556800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1656320"/>
        <c:crosses val="autoZero"/>
        <c:auto val="1"/>
        <c:lblAlgn val="ctr"/>
        <c:lblOffset val="100"/>
        <c:noMultiLvlLbl val="0"/>
      </c:catAx>
      <c:valAx>
        <c:axId val="191656320"/>
        <c:scaling>
          <c:orientation val="minMax"/>
          <c:max val="1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tool</a:t>
                </a:r>
                <a:r>
                  <a:rPr lang="de-DE" sz="1100" dirty="0" smtClean="0"/>
                  <a:t>) </a:t>
                </a:r>
                <a:r>
                  <a:rPr lang="de-DE" sz="1100" b="1" i="0" u="none" strike="noStrike" baseline="0" dirty="0" smtClean="0">
                    <a:effectLst/>
                  </a:rPr>
                  <a:t>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055680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3739943927798873"/>
          <c:y val="4.3210156136497646E-2"/>
          <c:w val="0.7879029781004725"/>
          <c:h val="9.0151521625802256E-2"/>
        </c:manualLayout>
      </c:layout>
      <c:overlay val="0"/>
    </c:legend>
    <c:plotVisOnly val="1"/>
    <c:dispBlanksAs val="gap"/>
    <c:showDLblsOverMax val="0"/>
  </c:chart>
  <c:externalData r:id="rId1">
    <c:autoUpdate val="0"/>
  </c:externalData>
  <c:extLst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67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  <c:pivotFmt>
        <c:idx val="67"/>
      </c:pivotFmt>
      <c:pivotFmt>
        <c:idx val="68"/>
      </c:pivotFmt>
      <c:pivotFmt>
        <c:idx val="69"/>
      </c:pivotFmt>
      <c:pivotFmt>
        <c:idx val="70"/>
      </c:pivotFmt>
      <c:pivotFmt>
        <c:idx val="71"/>
      </c:pivotFmt>
      <c:pivotFmt>
        <c:idx val="72"/>
      </c:pivotFmt>
      <c:pivotFmt>
        <c:idx val="73"/>
      </c:pivotFmt>
      <c:pivotFmt>
        <c:idx val="74"/>
      </c:pivotFmt>
      <c:pivotFmt>
        <c:idx val="75"/>
      </c:pivotFmt>
      <c:pivotFmt>
        <c:idx val="76"/>
      </c:pivotFmt>
      <c:pivotFmt>
        <c:idx val="77"/>
      </c:pivotFmt>
      <c:pivotFmt>
        <c:idx val="78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1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354.3122574684391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390.48067112689887</c:v>
                </c:pt>
                <c:pt idx="1">
                  <c:v>588.3438691337175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0">
                  <c:v>475.20124490418198</c:v>
                </c:pt>
                <c:pt idx="1">
                  <c:v>502.1530580126927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8496256"/>
        <c:axId val="178497792"/>
      </c:lineChart>
      <c:catAx>
        <c:axId val="178496256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78497792"/>
        <c:crosses val="autoZero"/>
        <c:auto val="1"/>
        <c:lblAlgn val="ctr"/>
        <c:lblOffset val="100"/>
        <c:noMultiLvlLbl val="0"/>
      </c:catAx>
      <c:valAx>
        <c:axId val="178497792"/>
        <c:scaling>
          <c:orientation val="minMax"/>
          <c:max val="2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 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401073083382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7849625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8_AISI1045_AISI4140_ALL_E85.xlsx]Tabelle3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1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5502796640498508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68279103497650817</c:v>
                </c:pt>
                <c:pt idx="1">
                  <c:v>0.6770165220430396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0">
                  <c:v>0.72533019956747447</c:v>
                </c:pt>
                <c:pt idx="1">
                  <c:v>0.7424913113263563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4961792"/>
        <c:axId val="474963328"/>
      </c:lineChart>
      <c:catAx>
        <c:axId val="47496179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74963328"/>
        <c:crosses val="autoZero"/>
        <c:auto val="1"/>
        <c:lblAlgn val="ctr"/>
        <c:lblOffset val="100"/>
        <c:noMultiLvlLbl val="0"/>
      </c:catAx>
      <c:valAx>
        <c:axId val="474963328"/>
        <c:scaling>
          <c:orientation val="minMax"/>
          <c:max val="0.8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chip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749617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83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1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7.6264858611016048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8.5638623554133944E-2</c:v>
                </c:pt>
                <c:pt idx="1">
                  <c:v>9.3773910713500414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0">
                  <c:v>6.6837548776502539E-2</c:v>
                </c:pt>
                <c:pt idx="1">
                  <c:v>0.1084581393652451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931456"/>
        <c:axId val="189265024"/>
      </c:lineChart>
      <c:catAx>
        <c:axId val="188931456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89265024"/>
        <c:crosses val="autoZero"/>
        <c:auto val="1"/>
        <c:lblAlgn val="ctr"/>
        <c:lblOffset val="100"/>
        <c:noMultiLvlLbl val="0"/>
      </c:catAx>
      <c:valAx>
        <c:axId val="189265024"/>
        <c:scaling>
          <c:orientation val="minMax"/>
          <c:max val="0.30000000000000004"/>
          <c:min val="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900"/>
                </a:pPr>
                <a:r>
                  <a:rPr lang="de-DE" sz="1100" b="1" i="0" baseline="0" dirty="0" smtClean="0">
                    <a:effectLst/>
                  </a:rPr>
                  <a:t>Heat </a:t>
                </a:r>
                <a:r>
                  <a:rPr lang="de-DE" sz="1100" b="1" i="0" baseline="0" dirty="0" err="1" smtClean="0">
                    <a:effectLst/>
                  </a:rPr>
                  <a:t>partition</a:t>
                </a:r>
                <a:r>
                  <a:rPr lang="de-DE" sz="1100" b="1" i="0" baseline="0" dirty="0" smtClean="0">
                    <a:effectLst/>
                  </a:rPr>
                  <a:t> (</a:t>
                </a:r>
                <a:r>
                  <a:rPr lang="de-DE" sz="1100" b="1" i="0" baseline="0" dirty="0" err="1" smtClean="0">
                    <a:effectLst/>
                  </a:rPr>
                  <a:t>tool</a:t>
                </a:r>
                <a:r>
                  <a:rPr lang="de-DE" sz="1100" b="1" i="0" baseline="0" dirty="0" smtClean="0">
                    <a:effectLst/>
                  </a:rPr>
                  <a:t>)</a:t>
                </a:r>
                <a:endParaRPr lang="de-DE" sz="9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8893145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63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1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3734554773391331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23157034146935784</c:v>
                </c:pt>
                <c:pt idx="1">
                  <c:v>0.2292095672434598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0">
                  <c:v>0.20783225165602301</c:v>
                </c:pt>
                <c:pt idx="1">
                  <c:v>0.1490505493083984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6151424"/>
        <c:axId val="136152960"/>
      </c:lineChart>
      <c:catAx>
        <c:axId val="13615142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36152960"/>
        <c:crosses val="autoZero"/>
        <c:auto val="1"/>
        <c:lblAlgn val="ctr"/>
        <c:lblOffset val="100"/>
        <c:noMultiLvlLbl val="0"/>
      </c:catAx>
      <c:valAx>
        <c:axId val="13615296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5187266774279975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3615142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326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22735741255138034</c:v>
                </c:pt>
                <c:pt idx="1">
                  <c:v>0.2686025070662548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29748380734563118</c:v>
                </c:pt>
                <c:pt idx="1">
                  <c:v>0.359599078606816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9533952"/>
        <c:axId val="99535488"/>
      </c:lineChart>
      <c:catAx>
        <c:axId val="9953395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99535488"/>
        <c:crosses val="autoZero"/>
        <c:auto val="1"/>
        <c:lblAlgn val="ctr"/>
        <c:lblOffset val="100"/>
        <c:noMultiLvlLbl val="0"/>
      </c:catAx>
      <c:valAx>
        <c:axId val="99535488"/>
        <c:scaling>
          <c:orientation val="minMax"/>
          <c:max val="0.5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5187266774279975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9953395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8_AISI1045_AISI4140_ALL_E85.xlsx]Tabelle3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1041.6504501533846</c:v>
                </c:pt>
                <c:pt idx="1">
                  <c:v>1492.354658689146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1564.0365677398365</c:v>
                </c:pt>
                <c:pt idx="1">
                  <c:v>2233.437163351641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1575296"/>
        <c:axId val="481576832"/>
      </c:lineChart>
      <c:catAx>
        <c:axId val="481575296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81576832"/>
        <c:crosses val="autoZero"/>
        <c:auto val="1"/>
        <c:lblAlgn val="ctr"/>
        <c:lblOffset val="100"/>
        <c:noMultiLvlLbl val="0"/>
      </c:catAx>
      <c:valAx>
        <c:axId val="481576832"/>
        <c:scaling>
          <c:orientation val="minMax"/>
          <c:max val="3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 b="1"/>
                </a:pPr>
                <a:r>
                  <a:rPr lang="de-DE" sz="1100" b="1" dirty="0" smtClean="0"/>
                  <a:t>Heat </a:t>
                </a:r>
                <a:r>
                  <a:rPr lang="de-DE" sz="1100" b="1" dirty="0" err="1" smtClean="0"/>
                  <a:t>flow</a:t>
                </a:r>
                <a:r>
                  <a:rPr lang="de-DE" sz="1100" b="1" dirty="0" smtClean="0"/>
                  <a:t> (</a:t>
                </a:r>
                <a:r>
                  <a:rPr lang="de-DE" sz="1100" b="1" dirty="0" err="1" smtClean="0"/>
                  <a:t>chip</a:t>
                </a:r>
                <a:r>
                  <a:rPr lang="de-DE" sz="1100" b="1" dirty="0" smtClean="0"/>
                  <a:t>) [W]</a:t>
                </a:r>
                <a:endParaRPr lang="de-DE" sz="1100" b="1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8157529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98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  <c:pivotFmt>
        <c:idx val="67"/>
      </c:pivotFmt>
      <c:pivotFmt>
        <c:idx val="68"/>
      </c:pivotFmt>
      <c:pivotFmt>
        <c:idx val="69"/>
      </c:pivotFmt>
      <c:pivotFmt>
        <c:idx val="70"/>
      </c:pivotFmt>
      <c:pivotFmt>
        <c:idx val="71"/>
      </c:pivotFmt>
      <c:pivotFmt>
        <c:idx val="72"/>
      </c:pivotFmt>
      <c:pivotFmt>
        <c:idx val="73"/>
      </c:pivotFmt>
      <c:pivotFmt>
        <c:idx val="74"/>
      </c:pivotFmt>
      <c:pivotFmt>
        <c:idx val="75"/>
      </c:pivotFmt>
      <c:pivotFmt>
        <c:idx val="76"/>
      </c:pivotFmt>
      <c:pivotFmt>
        <c:idx val="77"/>
      </c:pivotFmt>
      <c:pivotFmt>
        <c:idx val="78"/>
      </c:pivotFmt>
      <c:pivotFmt>
        <c:idx val="79"/>
      </c:pivotFmt>
      <c:pivotFmt>
        <c:idx val="80"/>
      </c:pivotFmt>
      <c:pivotFmt>
        <c:idx val="81"/>
      </c:pivotFmt>
      <c:pivotFmt>
        <c:idx val="82"/>
      </c:pivotFmt>
      <c:pivotFmt>
        <c:idx val="83"/>
      </c:pivotFmt>
      <c:pivotFmt>
        <c:idx val="84"/>
      </c:pivotFmt>
      <c:pivotFmt>
        <c:idx val="85"/>
      </c:pivotFmt>
      <c:pivotFmt>
        <c:idx val="86"/>
      </c:pivotFmt>
      <c:pivotFmt>
        <c:idx val="87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470.46689835630298</c:v>
                </c:pt>
                <c:pt idx="1">
                  <c:v>513.37818667247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463.08190365329676</c:v>
                </c:pt>
                <c:pt idx="1">
                  <c:v>578.523567187941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9217024"/>
        <c:axId val="190373888"/>
      </c:lineChart>
      <c:catAx>
        <c:axId val="189217024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0373888"/>
        <c:crosses val="autoZero"/>
        <c:auto val="1"/>
        <c:lblAlgn val="ctr"/>
        <c:lblOffset val="100"/>
        <c:noMultiLvlLbl val="0"/>
      </c:catAx>
      <c:valAx>
        <c:axId val="190373888"/>
        <c:scaling>
          <c:orientation val="minMax"/>
          <c:max val="1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tool</a:t>
                </a:r>
                <a:r>
                  <a:rPr lang="de-DE" sz="1100" dirty="0" smtClean="0"/>
                  <a:t>) </a:t>
                </a:r>
                <a:r>
                  <a:rPr lang="de-DE" sz="1100" b="1" i="0" u="none" strike="noStrike" baseline="0" dirty="0" smtClean="0">
                    <a:effectLst/>
                  </a:rPr>
                  <a:t>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8921702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3739943927798873"/>
          <c:y val="4.3210156136497646E-2"/>
          <c:w val="0.7879029781004725"/>
          <c:h val="9.0151521625802256E-2"/>
        </c:manualLayout>
      </c:layout>
      <c:overlay val="0"/>
    </c:legend>
    <c:plotVisOnly val="1"/>
    <c:dispBlanksAs val="gap"/>
    <c:showDLblsOverMax val="0"/>
  </c:chart>
  <c:externalData r:id="rId1">
    <c:autoUpdate val="0"/>
  </c:externalData>
  <c:extLst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314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  <c:pivotFmt>
        <c:idx val="67"/>
      </c:pivotFmt>
      <c:pivotFmt>
        <c:idx val="68"/>
      </c:pivotFmt>
      <c:pivotFmt>
        <c:idx val="69"/>
      </c:pivotFmt>
      <c:pivotFmt>
        <c:idx val="70"/>
      </c:pivotFmt>
      <c:pivotFmt>
        <c:idx val="71"/>
      </c:pivotFmt>
      <c:pivotFmt>
        <c:idx val="72"/>
      </c:pivotFmt>
      <c:pivotFmt>
        <c:idx val="73"/>
      </c:pivotFmt>
      <c:pivotFmt>
        <c:idx val="74"/>
      </c:pivotFmt>
      <c:pivotFmt>
        <c:idx val="75"/>
      </c:pivotFmt>
      <c:pivotFmt>
        <c:idx val="76"/>
      </c:pivotFmt>
      <c:pivotFmt>
        <c:idx val="77"/>
      </c:pivotFmt>
      <c:pivotFmt>
        <c:idx val="78"/>
      </c:pivotFmt>
      <c:pivotFmt>
        <c:idx val="79"/>
      </c:pivotFmt>
      <c:pivotFmt>
        <c:idx val="80"/>
      </c:pivotFmt>
      <c:pivotFmt>
        <c:idx val="81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444.95487747635752</c:v>
                </c:pt>
                <c:pt idx="1">
                  <c:v>736.5965510878047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858.39291267037402</c:v>
                </c:pt>
                <c:pt idx="1">
                  <c:v>1578.97725315694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283008"/>
        <c:axId val="192284544"/>
      </c:lineChart>
      <c:catAx>
        <c:axId val="192283008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2284544"/>
        <c:crosses val="autoZero"/>
        <c:auto val="1"/>
        <c:lblAlgn val="ctr"/>
        <c:lblOffset val="100"/>
        <c:noMultiLvlLbl val="0"/>
      </c:catAx>
      <c:valAx>
        <c:axId val="192284544"/>
        <c:scaling>
          <c:orientation val="minMax"/>
          <c:max val="2000"/>
          <c:min val="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 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401073083382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228300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310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24039322213530695</c:v>
                </c:pt>
                <c:pt idx="1">
                  <c:v>0.1872051502409441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16048521111747061</c:v>
                </c:pt>
                <c:pt idx="1">
                  <c:v>0.131753982710753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936960"/>
        <c:axId val="188938496"/>
      </c:lineChart>
      <c:catAx>
        <c:axId val="18893696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88938496"/>
        <c:crosses val="autoZero"/>
        <c:auto val="1"/>
        <c:lblAlgn val="ctr"/>
        <c:lblOffset val="100"/>
        <c:noMultiLvlLbl val="0"/>
      </c:catAx>
      <c:valAx>
        <c:axId val="188938496"/>
        <c:scaling>
          <c:orientation val="minMax"/>
          <c:max val="0.30000000000000004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900"/>
                </a:pPr>
                <a:r>
                  <a:rPr lang="de-DE" sz="1100" b="1" i="0" baseline="0" dirty="0" smtClean="0">
                    <a:effectLst/>
                  </a:rPr>
                  <a:t>Heat </a:t>
                </a:r>
                <a:r>
                  <a:rPr lang="de-DE" sz="1100" b="1" i="0" baseline="0" dirty="0" err="1" smtClean="0">
                    <a:effectLst/>
                  </a:rPr>
                  <a:t>partition</a:t>
                </a:r>
                <a:r>
                  <a:rPr lang="de-DE" sz="1100" b="1" i="0" baseline="0" dirty="0" smtClean="0">
                    <a:effectLst/>
                  </a:rPr>
                  <a:t> (</a:t>
                </a:r>
                <a:r>
                  <a:rPr lang="de-DE" sz="1100" b="1" i="0" baseline="0" dirty="0" err="1" smtClean="0">
                    <a:effectLst/>
                  </a:rPr>
                  <a:t>tool</a:t>
                </a:r>
                <a:r>
                  <a:rPr lang="de-DE" sz="1100" b="1" i="0" baseline="0" dirty="0" smtClean="0">
                    <a:effectLst/>
                  </a:rPr>
                  <a:t>)</a:t>
                </a:r>
                <a:endParaRPr lang="de-DE" sz="9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8893696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6_ALL_E85 (version 2).xlsb]Tabelle1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B$6:$B$7</c:f>
              <c:numCache>
                <c:formatCode>General</c:formatCode>
                <c:ptCount val="2"/>
                <c:pt idx="0">
                  <c:v>1451.3660151394699</c:v>
                </c:pt>
                <c:pt idx="1">
                  <c:v>2209.5729028091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C$6:$C$7</c:f>
              <c:numCache>
                <c:formatCode>General</c:formatCode>
                <c:ptCount val="2"/>
                <c:pt idx="0">
                  <c:v>2208.0208666757599</c:v>
                </c:pt>
                <c:pt idx="1">
                  <c:v>3055.410124286539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1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D$6:$D$7</c:f>
              <c:numCache>
                <c:formatCode>General</c:formatCode>
                <c:ptCount val="2"/>
                <c:pt idx="0">
                  <c:v>2734.2910290862201</c:v>
                </c:pt>
                <c:pt idx="1">
                  <c:v>4006.6247319264098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1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E$6:$E$7</c:f>
              <c:numCache>
                <c:formatCode>General</c:formatCode>
                <c:ptCount val="2"/>
                <c:pt idx="1">
                  <c:v>4892.14332443298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9578624"/>
        <c:axId val="99580160"/>
      </c:lineChart>
      <c:catAx>
        <c:axId val="9957862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99580160"/>
        <c:crosses val="autoZero"/>
        <c:auto val="1"/>
        <c:lblAlgn val="ctr"/>
        <c:lblOffset val="100"/>
        <c:noMultiLvlLbl val="0"/>
      </c:catAx>
      <c:valAx>
        <c:axId val="9958016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 b="1"/>
                </a:pPr>
                <a:r>
                  <a:rPr lang="de-DE" sz="1100" b="1" dirty="0" smtClean="0"/>
                  <a:t>Heat </a:t>
                </a:r>
                <a:r>
                  <a:rPr lang="de-DE" sz="1100" b="1" dirty="0" err="1" smtClean="0"/>
                  <a:t>flow</a:t>
                </a:r>
                <a:r>
                  <a:rPr lang="de-DE" sz="1100" b="1" dirty="0" smtClean="0"/>
                  <a:t> (</a:t>
                </a:r>
                <a:r>
                  <a:rPr lang="de-DE" sz="1100" b="1" dirty="0" err="1" smtClean="0"/>
                  <a:t>chip</a:t>
                </a:r>
                <a:r>
                  <a:rPr lang="de-DE" sz="1100" b="1" dirty="0" smtClean="0"/>
                  <a:t>) [W]</a:t>
                </a:r>
                <a:endParaRPr lang="de-DE" sz="1100" b="1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9957862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8_AISI1045_AISI4140_ALL_E85.xlsx]Tabelle3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53224936531331268</c:v>
                </c:pt>
                <c:pt idx="1">
                  <c:v>0.5441923426928009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54203098153689822</c:v>
                </c:pt>
                <c:pt idx="1">
                  <c:v>0.5086469386824299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5688064"/>
        <c:axId val="485689600"/>
      </c:lineChart>
      <c:catAx>
        <c:axId val="48568806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85689600"/>
        <c:crosses val="autoZero"/>
        <c:auto val="1"/>
        <c:lblAlgn val="ctr"/>
        <c:lblOffset val="100"/>
        <c:noMultiLvlLbl val="0"/>
      </c:catAx>
      <c:valAx>
        <c:axId val="485689600"/>
        <c:scaling>
          <c:orientation val="minMax"/>
          <c:max val="0.8"/>
          <c:min val="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chip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8568806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322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40448289374943647</c:v>
                </c:pt>
                <c:pt idx="1">
                  <c:v>0.2600521088954114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39323943742069678</c:v>
                </c:pt>
                <c:pt idx="1">
                  <c:v>0.370627622707812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1793024"/>
        <c:axId val="191794560"/>
      </c:lineChart>
      <c:catAx>
        <c:axId val="19179302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1794560"/>
        <c:crosses val="autoZero"/>
        <c:auto val="1"/>
        <c:lblAlgn val="ctr"/>
        <c:lblOffset val="100"/>
        <c:noMultiLvlLbl val="0"/>
      </c:catAx>
      <c:valAx>
        <c:axId val="191794560"/>
        <c:scaling>
          <c:orientation val="minMax"/>
          <c:max val="0.5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5187266774279975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179302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8_AISI1045_AISI4140_ALL_E85.xlsx]Tabelle3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979.56115027290264</c:v>
                </c:pt>
                <c:pt idx="1">
                  <c:v>1664.407941472159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1574.3611388392737</c:v>
                </c:pt>
                <c:pt idx="1">
                  <c:v>2434.11939873006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9453824"/>
        <c:axId val="489455616"/>
      </c:lineChart>
      <c:catAx>
        <c:axId val="48945382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89455616"/>
        <c:crosses val="autoZero"/>
        <c:auto val="1"/>
        <c:lblAlgn val="ctr"/>
        <c:lblOffset val="100"/>
        <c:noMultiLvlLbl val="0"/>
      </c:catAx>
      <c:valAx>
        <c:axId val="489455616"/>
        <c:scaling>
          <c:orientation val="minMax"/>
          <c:max val="3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 b="1"/>
                </a:pPr>
                <a:r>
                  <a:rPr lang="de-DE" sz="1100" b="1" dirty="0" smtClean="0"/>
                  <a:t>Heat </a:t>
                </a:r>
                <a:r>
                  <a:rPr lang="de-DE" sz="1100" b="1" dirty="0" err="1" smtClean="0"/>
                  <a:t>flow</a:t>
                </a:r>
                <a:r>
                  <a:rPr lang="de-DE" sz="1100" b="1" dirty="0" smtClean="0"/>
                  <a:t> (</a:t>
                </a:r>
                <a:r>
                  <a:rPr lang="de-DE" sz="1100" b="1" dirty="0" err="1" smtClean="0"/>
                  <a:t>chip</a:t>
                </a:r>
                <a:r>
                  <a:rPr lang="de-DE" sz="1100" b="1" dirty="0" smtClean="0"/>
                  <a:t>) [W]</a:t>
                </a:r>
                <a:endParaRPr lang="de-DE" sz="1100" b="1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8945382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302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  <c:pivotFmt>
        <c:idx val="67"/>
      </c:pivotFmt>
      <c:pivotFmt>
        <c:idx val="68"/>
      </c:pivotFmt>
      <c:pivotFmt>
        <c:idx val="69"/>
      </c:pivotFmt>
      <c:pivotFmt>
        <c:idx val="70"/>
      </c:pivotFmt>
      <c:pivotFmt>
        <c:idx val="71"/>
      </c:pivotFmt>
      <c:pivotFmt>
        <c:idx val="72"/>
      </c:pivotFmt>
      <c:pivotFmt>
        <c:idx val="73"/>
      </c:pivotFmt>
      <c:pivotFmt>
        <c:idx val="74"/>
      </c:pivotFmt>
      <c:pivotFmt>
        <c:idx val="75"/>
      </c:pivotFmt>
      <c:pivotFmt>
        <c:idx val="76"/>
      </c:pivotFmt>
      <c:pivotFmt>
        <c:idx val="77"/>
      </c:pivotFmt>
      <c:pivotFmt>
        <c:idx val="78"/>
      </c:pivotFmt>
      <c:pivotFmt>
        <c:idx val="79"/>
      </c:pivotFmt>
      <c:pivotFmt>
        <c:idx val="80"/>
      </c:pivotFmt>
      <c:pivotFmt>
        <c:idx val="81"/>
      </c:pivotFmt>
      <c:pivotFmt>
        <c:idx val="82"/>
      </c:pivotFmt>
      <c:pivotFmt>
        <c:idx val="83"/>
      </c:pivotFmt>
      <c:pivotFmt>
        <c:idx val="84"/>
      </c:pivotFmt>
      <c:pivotFmt>
        <c:idx val="85"/>
      </c:pivotFmt>
      <c:pivotFmt>
        <c:idx val="86"/>
      </c:pivotFmt>
      <c:pivotFmt>
        <c:idx val="87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181.14648066655184</c:v>
                </c:pt>
                <c:pt idx="1">
                  <c:v>370.5969046965696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157.04788601770585</c:v>
                </c:pt>
                <c:pt idx="1">
                  <c:v>335.3592987616153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0474112"/>
        <c:axId val="190475648"/>
      </c:lineChart>
      <c:catAx>
        <c:axId val="190474112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0475648"/>
        <c:crosses val="autoZero"/>
        <c:auto val="1"/>
        <c:lblAlgn val="ctr"/>
        <c:lblOffset val="100"/>
        <c:noMultiLvlLbl val="0"/>
      </c:catAx>
      <c:valAx>
        <c:axId val="190475648"/>
        <c:scaling>
          <c:orientation val="minMax"/>
          <c:max val="1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tool</a:t>
                </a:r>
                <a:r>
                  <a:rPr lang="de-DE" sz="1100" dirty="0" smtClean="0"/>
                  <a:t>) </a:t>
                </a:r>
                <a:r>
                  <a:rPr lang="de-DE" sz="1100" b="1" i="0" u="none" strike="noStrike" baseline="0" dirty="0" smtClean="0">
                    <a:effectLst/>
                  </a:rPr>
                  <a:t>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047411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3739943927798873"/>
          <c:y val="4.3210156136497646E-2"/>
          <c:w val="0.7879029781004725"/>
          <c:h val="9.0151521625802256E-2"/>
        </c:manualLayout>
      </c:layout>
      <c:overlay val="0"/>
    </c:legend>
    <c:plotVisOnly val="1"/>
    <c:dispBlanksAs val="gap"/>
    <c:showDLblsOverMax val="0"/>
  </c:chart>
  <c:externalData r:id="rId1">
    <c:autoUpdate val="0"/>
  </c:externalData>
  <c:extLst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318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  <c:pivotFmt>
        <c:idx val="67"/>
      </c:pivotFmt>
      <c:pivotFmt>
        <c:idx val="68"/>
      </c:pivotFmt>
      <c:pivotFmt>
        <c:idx val="69"/>
      </c:pivotFmt>
      <c:pivotFmt>
        <c:idx val="70"/>
      </c:pivotFmt>
      <c:pivotFmt>
        <c:idx val="71"/>
      </c:pivotFmt>
      <c:pivotFmt>
        <c:idx val="72"/>
      </c:pivotFmt>
      <c:pivotFmt>
        <c:idx val="73"/>
      </c:pivotFmt>
      <c:pivotFmt>
        <c:idx val="74"/>
      </c:pivotFmt>
      <c:pivotFmt>
        <c:idx val="75"/>
      </c:pivotFmt>
      <c:pivotFmt>
        <c:idx val="76"/>
      </c:pivotFmt>
      <c:pivotFmt>
        <c:idx val="77"/>
      </c:pivotFmt>
      <c:pivotFmt>
        <c:idx val="78"/>
      </c:pivotFmt>
      <c:pivotFmt>
        <c:idx val="79"/>
      </c:pivotFmt>
      <c:pivotFmt>
        <c:idx val="80"/>
      </c:pivotFmt>
      <c:pivotFmt>
        <c:idx val="81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788.36758244507462</c:v>
                </c:pt>
                <c:pt idx="1">
                  <c:v>715.1953647284051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1122.1202445748741</c:v>
                </c:pt>
                <c:pt idx="1">
                  <c:v>1630.90301199338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1876096"/>
        <c:axId val="192340736"/>
      </c:lineChart>
      <c:catAx>
        <c:axId val="191876096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2340736"/>
        <c:crosses val="autoZero"/>
        <c:auto val="1"/>
        <c:lblAlgn val="ctr"/>
        <c:lblOffset val="100"/>
        <c:noMultiLvlLbl val="0"/>
      </c:catAx>
      <c:valAx>
        <c:axId val="192340736"/>
        <c:scaling>
          <c:orientation val="minMax"/>
          <c:max val="2000"/>
          <c:min val="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 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401073083382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187609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/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306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9.2939707725283066E-2</c:v>
                </c:pt>
                <c:pt idx="1">
                  <c:v>0.134752700268202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5.5036367665846499E-2</c:v>
                </c:pt>
                <c:pt idx="1">
                  <c:v>7.621141094163382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4894080"/>
        <c:axId val="496194304"/>
      </c:lineChart>
      <c:catAx>
        <c:axId val="49489408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96194304"/>
        <c:crosses val="autoZero"/>
        <c:auto val="1"/>
        <c:lblAlgn val="ctr"/>
        <c:lblOffset val="100"/>
        <c:noMultiLvlLbl val="0"/>
      </c:catAx>
      <c:valAx>
        <c:axId val="496194304"/>
        <c:scaling>
          <c:orientation val="minMax"/>
          <c:max val="0.30000000000000004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900"/>
                </a:pPr>
                <a:r>
                  <a:rPr lang="de-DE" sz="1100" b="1" i="0" baseline="0" dirty="0" smtClean="0">
                    <a:effectLst/>
                  </a:rPr>
                  <a:t>Heat </a:t>
                </a:r>
                <a:r>
                  <a:rPr lang="de-DE" sz="1100" b="1" i="0" baseline="0" dirty="0" err="1" smtClean="0">
                    <a:effectLst/>
                  </a:rPr>
                  <a:t>partition</a:t>
                </a:r>
                <a:r>
                  <a:rPr lang="de-DE" sz="1100" b="1" i="0" baseline="0" dirty="0" smtClean="0">
                    <a:effectLst/>
                  </a:rPr>
                  <a:t> (</a:t>
                </a:r>
                <a:r>
                  <a:rPr lang="de-DE" sz="1100" b="1" i="0" baseline="0" dirty="0" err="1" smtClean="0">
                    <a:effectLst/>
                  </a:rPr>
                  <a:t>tool</a:t>
                </a:r>
                <a:r>
                  <a:rPr lang="de-DE" sz="1100" b="1" i="0" baseline="0" dirty="0" smtClean="0">
                    <a:effectLst/>
                  </a:rPr>
                  <a:t>)</a:t>
                </a:r>
                <a:endParaRPr lang="de-DE" sz="9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9489408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8_AISI1045_AISI4140_ALL_E85.xlsx]Tabelle3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50257739852528049</c:v>
                </c:pt>
                <c:pt idx="1">
                  <c:v>0.6051951908363857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5517241949134567</c:v>
                </c:pt>
                <c:pt idx="1">
                  <c:v>0.553160966350553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3558400"/>
        <c:axId val="493568384"/>
      </c:lineChart>
      <c:catAx>
        <c:axId val="49355840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93568384"/>
        <c:crosses val="autoZero"/>
        <c:auto val="1"/>
        <c:lblAlgn val="ctr"/>
        <c:lblOffset val="100"/>
        <c:noMultiLvlLbl val="0"/>
      </c:catAx>
      <c:valAx>
        <c:axId val="493568384"/>
        <c:scaling>
          <c:orientation val="minMax"/>
          <c:max val="0.8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chip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9355840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43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631.42097425251609</c:v>
                </c:pt>
                <c:pt idx="1">
                  <c:v>662.0500002776270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915.38734564547485</c:v>
                </c:pt>
                <c:pt idx="1">
                  <c:v>1035.120615703006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0">
                  <c:v>1030.7241533107299</c:v>
                </c:pt>
                <c:pt idx="1">
                  <c:v>1594.239893980176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3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E$6:$E$8</c:f>
              <c:numCache>
                <c:formatCode>General</c:formatCode>
                <c:ptCount val="2"/>
                <c:pt idx="1">
                  <c:v>1847.40096797355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0270080"/>
        <c:axId val="190288256"/>
      </c:lineChart>
      <c:catAx>
        <c:axId val="190270080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0288256"/>
        <c:crosses val="autoZero"/>
        <c:auto val="1"/>
        <c:lblAlgn val="ctr"/>
        <c:lblOffset val="100"/>
        <c:noMultiLvlLbl val="0"/>
      </c:catAx>
      <c:valAx>
        <c:axId val="190288256"/>
        <c:scaling>
          <c:orientation val="minMax"/>
          <c:max val="2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 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401073083382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9027008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55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26397069367369447</c:v>
                </c:pt>
                <c:pt idx="1">
                  <c:v>0.200467755469503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0.26950501066870147</c:v>
                </c:pt>
                <c:pt idx="1">
                  <c:v>0.2294325578110797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0">
                  <c:v>0.25077174496745785</c:v>
                </c:pt>
                <c:pt idx="1">
                  <c:v>0.2629496619644416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3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E$6:$E$8</c:f>
              <c:numCache>
                <c:formatCode>General</c:formatCode>
                <c:ptCount val="2"/>
                <c:pt idx="1">
                  <c:v>0.2558670415122895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8055424"/>
        <c:axId val="178458624"/>
      </c:lineChart>
      <c:catAx>
        <c:axId val="17805542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78458624"/>
        <c:crosses val="autoZero"/>
        <c:auto val="1"/>
        <c:lblAlgn val="ctr"/>
        <c:lblOffset val="100"/>
        <c:noMultiLvlLbl val="0"/>
      </c:catAx>
      <c:valAx>
        <c:axId val="178458624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workpiece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5187266774279975E-2"/>
              <c:y val="0.1227243981437959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7805542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26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  <c:pivotFmt>
        <c:idx val="67"/>
      </c:pivotFmt>
      <c:pivotFmt>
        <c:idx val="68"/>
      </c:pivotFmt>
      <c:pivotFmt>
        <c:idx val="69"/>
      </c:pivotFmt>
      <c:pivotFmt>
        <c:idx val="70"/>
      </c:pivotFmt>
      <c:pivotFmt>
        <c:idx val="71"/>
      </c:pivotFmt>
      <c:pivotFmt>
        <c:idx val="72"/>
      </c:pivotFmt>
      <c:pivotFmt>
        <c:idx val="73"/>
      </c:pivotFmt>
      <c:pivotFmt>
        <c:idx val="74"/>
      </c:pivotFmt>
      <c:pivotFmt>
        <c:idx val="75"/>
      </c:pivotFmt>
      <c:pivotFmt>
        <c:idx val="76"/>
      </c:pivotFmt>
      <c:pivotFmt>
        <c:idx val="77"/>
      </c:pivotFmt>
      <c:pivotFmt>
        <c:idx val="78"/>
      </c:pivotFmt>
      <c:pivotFmt>
        <c:idx val="79"/>
      </c:pivotFmt>
      <c:pivotFmt>
        <c:idx val="80"/>
      </c:pivotFmt>
      <c:pivotFmt>
        <c:idx val="81"/>
      </c:pivotFmt>
      <c:pivotFmt>
        <c:idx val="82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309.22465957175388</c:v>
                </c:pt>
                <c:pt idx="1">
                  <c:v>430.9032250034231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273.14216488398529</c:v>
                </c:pt>
                <c:pt idx="1">
                  <c:v>421.1245611528038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0">
                  <c:v>345.19330000000002</c:v>
                </c:pt>
                <c:pt idx="1">
                  <c:v>462.0444574135639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3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E$6:$E$8</c:f>
              <c:numCache>
                <c:formatCode>General</c:formatCode>
                <c:ptCount val="2"/>
                <c:pt idx="1">
                  <c:v>480.61566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766784"/>
        <c:axId val="135768320"/>
      </c:lineChart>
      <c:catAx>
        <c:axId val="135766784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35768320"/>
        <c:crosses val="autoZero"/>
        <c:auto val="1"/>
        <c:lblAlgn val="ctr"/>
        <c:lblOffset val="100"/>
        <c:noMultiLvlLbl val="0"/>
      </c:catAx>
      <c:valAx>
        <c:axId val="13576832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err="1" smtClean="0"/>
                  <a:t>Heat</a:t>
                </a:r>
                <a:r>
                  <a:rPr lang="de-DE" sz="1100" dirty="0" smtClean="0"/>
                  <a:t>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tool</a:t>
                </a:r>
                <a:r>
                  <a:rPr lang="de-DE" sz="1100" dirty="0" smtClean="0"/>
                  <a:t>) </a:t>
                </a:r>
                <a:r>
                  <a:rPr lang="de-DE" sz="1100" b="1" i="0" u="none" strike="noStrike" baseline="0" dirty="0" smtClean="0">
                    <a:effectLst/>
                  </a:rPr>
                  <a:t>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3576678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4.610239385166353E-2"/>
          <c:y val="4.3210156136497646E-2"/>
          <c:w val="0.95389760614833641"/>
          <c:h val="6.7631269651905981E-2"/>
        </c:manualLayout>
      </c:layout>
      <c:overlay val="0"/>
    </c:legend>
    <c:plotVisOnly val="1"/>
    <c:dispBlanksAs val="gap"/>
    <c:showDLblsOverMax val="0"/>
  </c:chart>
  <c:externalData r:id="rId1">
    <c:autoUpdate val="0"/>
  </c:externalData>
  <c:extLst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6_ALL_E85 (version 2).xlsb]Tabelle1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B$6:$B$7</c:f>
              <c:numCache>
                <c:formatCode>General</c:formatCode>
                <c:ptCount val="2"/>
                <c:pt idx="0">
                  <c:v>1704.9592641064401</c:v>
                </c:pt>
                <c:pt idx="1">
                  <c:v>2425.75149022328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C$6:$C$7</c:f>
              <c:numCache>
                <c:formatCode>General</c:formatCode>
                <c:ptCount val="2"/>
                <c:pt idx="0">
                  <c:v>2526.2419954299799</c:v>
                </c:pt>
                <c:pt idx="1">
                  <c:v>3375.8082062165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1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D$6:$D$7</c:f>
              <c:numCache>
                <c:formatCode>General</c:formatCode>
                <c:ptCount val="2"/>
                <c:pt idx="1">
                  <c:v>4015.32447079746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1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E$6:$E$7</c:f>
              <c:numCache>
                <c:formatCode>General</c:formatCode>
                <c:ptCount val="2"/>
                <c:pt idx="1">
                  <c:v>4981.06342264652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35570176"/>
        <c:axId val="435571712"/>
      </c:lineChart>
      <c:catAx>
        <c:axId val="435570176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35571712"/>
        <c:crosses val="autoZero"/>
        <c:auto val="1"/>
        <c:lblAlgn val="ctr"/>
        <c:lblOffset val="100"/>
        <c:noMultiLvlLbl val="0"/>
      </c:catAx>
      <c:valAx>
        <c:axId val="435571712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flow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chip</a:t>
                </a:r>
                <a:r>
                  <a:rPr lang="de-DE" sz="1100" dirty="0" smtClean="0"/>
                  <a:t>) </a:t>
                </a:r>
                <a:r>
                  <a:rPr lang="de-DE" sz="1100" b="1" i="0" u="none" strike="noStrike" baseline="0" dirty="0" smtClean="0">
                    <a:effectLst/>
                  </a:rPr>
                  <a:t>[W]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3557017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truct_Results_v16_ALL_E85 (version 2).xlsb]Tabelle1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B$6:$B$7</c:f>
              <c:numCache>
                <c:formatCode>General</c:formatCode>
                <c:ptCount val="2"/>
                <c:pt idx="0">
                  <c:v>0.71637303256618534</c:v>
                </c:pt>
                <c:pt idx="1">
                  <c:v>0.7415562510839162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C$6:$C$7</c:f>
              <c:numCache>
                <c:formatCode>General</c:formatCode>
                <c:ptCount val="2"/>
                <c:pt idx="0">
                  <c:v>0.74376697380494772</c:v>
                </c:pt>
                <c:pt idx="1">
                  <c:v>0.7482416055503698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1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D$6:$D$7</c:f>
              <c:numCache>
                <c:formatCode>General</c:formatCode>
                <c:ptCount val="2"/>
                <c:pt idx="1">
                  <c:v>0.664690107694400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1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1!$A$6:$A$7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1!$E$6:$E$7</c:f>
              <c:numCache>
                <c:formatCode>General</c:formatCode>
                <c:ptCount val="2"/>
                <c:pt idx="1">
                  <c:v>0.685494775523954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0206464"/>
        <c:axId val="440208000"/>
      </c:lineChart>
      <c:catAx>
        <c:axId val="44020646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40208000"/>
        <c:crosses val="autoZero"/>
        <c:auto val="1"/>
        <c:lblAlgn val="ctr"/>
        <c:lblOffset val="100"/>
        <c:noMultiLvlLbl val="0"/>
      </c:catAx>
      <c:valAx>
        <c:axId val="440208000"/>
        <c:scaling>
          <c:orientation val="minMax"/>
          <c:max val="0.8"/>
          <c:min val="0.5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chip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44020646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uttingResults_AISI1045_AISI4140_ALL_E085_method2.xlsx]Tabelle3!PivotTable1</c:name>
    <c:fmtId val="234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</c:pivotFmt>
      <c:pivotFmt>
        <c:idx val="13"/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</c:pivotFmt>
      <c:pivotFmt>
        <c:idx val="27"/>
      </c:pivotFmt>
      <c:pivotFmt>
        <c:idx val="28"/>
      </c:pivotFmt>
      <c:pivotFmt>
        <c:idx val="29"/>
      </c:pivotFmt>
      <c:pivotFmt>
        <c:idx val="30"/>
      </c:pivotFmt>
      <c:pivotFmt>
        <c:idx val="31"/>
      </c:pivotFmt>
      <c:pivotFmt>
        <c:idx val="32"/>
      </c:pivotFmt>
      <c:pivotFmt>
        <c:idx val="33"/>
      </c:pivotFmt>
      <c:pivotFmt>
        <c:idx val="34"/>
      </c:pivotFmt>
      <c:pivotFmt>
        <c:idx val="35"/>
      </c:pivotFmt>
      <c:pivotFmt>
        <c:idx val="36"/>
      </c:pivotFmt>
      <c:pivotFmt>
        <c:idx val="37"/>
      </c:pivotFmt>
      <c:pivotFmt>
        <c:idx val="38"/>
      </c:pivotFmt>
      <c:pivotFmt>
        <c:idx val="39"/>
      </c:pivotFmt>
      <c:pivotFmt>
        <c:idx val="40"/>
      </c:pivotFmt>
      <c:pivotFmt>
        <c:idx val="41"/>
      </c:pivotFmt>
      <c:pivotFmt>
        <c:idx val="42"/>
      </c:pivotFmt>
      <c:pivotFmt>
        <c:idx val="43"/>
      </c:pivotFmt>
      <c:pivotFmt>
        <c:idx val="44"/>
      </c:pivotFmt>
      <c:pivotFmt>
        <c:idx val="45"/>
      </c:pivotFmt>
      <c:pivotFmt>
        <c:idx val="46"/>
      </c:pivotFmt>
      <c:pivotFmt>
        <c:idx val="47"/>
      </c:pivotFmt>
      <c:pivotFmt>
        <c:idx val="48"/>
      </c:pivotFmt>
      <c:pivotFmt>
        <c:idx val="49"/>
      </c:pivotFmt>
      <c:pivotFmt>
        <c:idx val="50"/>
      </c:pivotFmt>
      <c:pivotFmt>
        <c:idx val="51"/>
      </c:pivotFmt>
      <c:pivotFmt>
        <c:idx val="52"/>
      </c:pivotFmt>
      <c:pivotFmt>
        <c:idx val="53"/>
      </c:pivotFmt>
      <c:pivotFmt>
        <c:idx val="54"/>
      </c:pivotFmt>
      <c:pivotFmt>
        <c:idx val="55"/>
      </c:pivotFmt>
      <c:pivotFmt>
        <c:idx val="56"/>
      </c:pivotFmt>
      <c:pivotFmt>
        <c:idx val="57"/>
      </c:pivotFmt>
      <c:pivotFmt>
        <c:idx val="58"/>
      </c:pivotFmt>
      <c:pivotFmt>
        <c:idx val="59"/>
      </c:pivotFmt>
      <c:pivotFmt>
        <c:idx val="60"/>
      </c:pivotFmt>
      <c:pivotFmt>
        <c:idx val="61"/>
      </c:pivotFmt>
      <c:pivotFmt>
        <c:idx val="62"/>
      </c:pivotFmt>
      <c:pivotFmt>
        <c:idx val="63"/>
      </c:pivotFmt>
      <c:pivotFmt>
        <c:idx val="64"/>
      </c:pivotFmt>
      <c:pivotFmt>
        <c:idx val="65"/>
      </c:pivotFmt>
      <c:pivotFmt>
        <c:idx val="66"/>
      </c:pivotFmt>
    </c:pivotFmts>
    <c:plotArea>
      <c:layout>
        <c:manualLayout>
          <c:layoutTarget val="inner"/>
          <c:xMode val="edge"/>
          <c:yMode val="edge"/>
          <c:x val="0.26795734036424362"/>
          <c:y val="0.21046080350046575"/>
          <c:w val="0.70742519735600351"/>
          <c:h val="0.60237019057369023"/>
        </c:manualLayout>
      </c:layout>
      <c:lineChart>
        <c:grouping val="standard"/>
        <c:varyColors val="0"/>
        <c:ser>
          <c:idx val="0"/>
          <c:order val="0"/>
          <c:tx>
            <c:strRef>
              <c:f>Tabelle3!$B$4:$B$5</c:f>
              <c:strCache>
                <c:ptCount val="1"/>
                <c:pt idx="0">
                  <c:v>2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B$6:$B$8</c:f>
              <c:numCache>
                <c:formatCode>General</c:formatCode>
                <c:ptCount val="2"/>
                <c:pt idx="0">
                  <c:v>0.12709068596913234</c:v>
                </c:pt>
                <c:pt idx="1">
                  <c:v>7.6290834240305055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3!$C$4:$C$5</c:f>
              <c:strCache>
                <c:ptCount val="1"/>
                <c:pt idx="0">
                  <c:v>3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C$6:$C$8</c:f>
              <c:numCache>
                <c:formatCode>General</c:formatCode>
                <c:ptCount val="2"/>
                <c:pt idx="0">
                  <c:v>6.9659109891501217E-2</c:v>
                </c:pt>
                <c:pt idx="1">
                  <c:v>6.5395929109580059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3!$D$4:$D$5</c:f>
              <c:strCache>
                <c:ptCount val="1"/>
                <c:pt idx="0">
                  <c:v>4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D$6:$D$8</c:f>
              <c:numCache>
                <c:formatCode>General</c:formatCode>
                <c:ptCount val="2"/>
                <c:pt idx="1">
                  <c:v>5.226429425738563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3!$E$4:$E$5</c:f>
              <c:strCache>
                <c:ptCount val="1"/>
                <c:pt idx="0">
                  <c:v>500,00</c:v>
                </c:pt>
              </c:strCache>
            </c:strRef>
          </c:tx>
          <c:cat>
            <c:strRef>
              <c:f>Tabelle3!$A$6:$A$8</c:f>
              <c:strCache>
                <c:ptCount val="2"/>
                <c:pt idx="0">
                  <c:v>100,00</c:v>
                </c:pt>
                <c:pt idx="1">
                  <c:v>150,00</c:v>
                </c:pt>
              </c:strCache>
            </c:strRef>
          </c:cat>
          <c:val>
            <c:numRef>
              <c:f>Tabelle3!$E$6:$E$8</c:f>
              <c:numCache>
                <c:formatCode>General</c:formatCode>
                <c:ptCount val="2"/>
                <c:pt idx="1">
                  <c:v>4.293991763280576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804800"/>
        <c:axId val="177806336"/>
      </c:lineChart>
      <c:catAx>
        <c:axId val="177804800"/>
        <c:scaling>
          <c:orientation val="minMax"/>
        </c:scaling>
        <c:delete val="0"/>
        <c:axPos val="b"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77806336"/>
        <c:crosses val="autoZero"/>
        <c:auto val="1"/>
        <c:lblAlgn val="ctr"/>
        <c:lblOffset val="100"/>
        <c:noMultiLvlLbl val="0"/>
      </c:catAx>
      <c:valAx>
        <c:axId val="177806336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100"/>
                </a:pPr>
                <a:r>
                  <a:rPr lang="de-DE" sz="1100" dirty="0" smtClean="0"/>
                  <a:t>Heat </a:t>
                </a:r>
                <a:r>
                  <a:rPr lang="de-DE" sz="1100" dirty="0" err="1" smtClean="0"/>
                  <a:t>partition</a:t>
                </a:r>
                <a:r>
                  <a:rPr lang="de-DE" sz="1100" dirty="0" smtClean="0"/>
                  <a:t> (</a:t>
                </a:r>
                <a:r>
                  <a:rPr lang="de-DE" sz="1100" dirty="0" err="1" smtClean="0"/>
                  <a:t>tool</a:t>
                </a:r>
                <a:r>
                  <a:rPr lang="de-DE" sz="1100" dirty="0" smtClean="0"/>
                  <a:t>)</a:t>
                </a:r>
                <a:endParaRPr lang="de-DE" sz="1100" dirty="0"/>
              </a:p>
            </c:rich>
          </c:tx>
          <c:layout>
            <c:manualLayout>
              <c:xMode val="edge"/>
              <c:yMode val="edge"/>
              <c:x val="3.1037502133210857E-2"/>
              <c:y val="0.2149791048857819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7780480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smtClean="0"/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smtClean="0"/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9484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91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108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022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84599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chart" Target="../charts/chart7.xml"/><Relationship Id="rId7" Type="http://schemas.openxmlformats.org/officeDocument/2006/relationships/chart" Target="../charts/chart11.xm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0.png"/><Relationship Id="rId3" Type="http://schemas.openxmlformats.org/officeDocument/2006/relationships/chart" Target="../charts/chart14.xml"/><Relationship Id="rId7" Type="http://schemas.openxmlformats.org/officeDocument/2006/relationships/chart" Target="../charts/chart18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17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0.png"/><Relationship Id="rId3" Type="http://schemas.openxmlformats.org/officeDocument/2006/relationships/chart" Target="../charts/chart20.xml"/><Relationship Id="rId7" Type="http://schemas.openxmlformats.org/officeDocument/2006/relationships/chart" Target="../charts/chart24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4" Type="http://schemas.openxmlformats.org/officeDocument/2006/relationships/chart" Target="../charts/chart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0.png"/><Relationship Id="rId3" Type="http://schemas.openxmlformats.org/officeDocument/2006/relationships/chart" Target="../charts/chart26.xml"/><Relationship Id="rId7" Type="http://schemas.openxmlformats.org/officeDocument/2006/relationships/chart" Target="../charts/chart30.xml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29.xml"/><Relationship Id="rId5" Type="http://schemas.openxmlformats.org/officeDocument/2006/relationships/chart" Target="../charts/chart28.xml"/><Relationship Id="rId4" Type="http://schemas.openxmlformats.org/officeDocument/2006/relationships/chart" Target="../charts/chart2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chart" Target="../charts/chart32.xml"/><Relationship Id="rId7" Type="http://schemas.openxmlformats.org/officeDocument/2006/relationships/chart" Target="../charts/chart36.xml"/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35.xml"/><Relationship Id="rId5" Type="http://schemas.openxmlformats.org/officeDocument/2006/relationships/chart" Target="../charts/chart34.xml"/><Relationship Id="rId4" Type="http://schemas.openxmlformats.org/officeDocument/2006/relationships/chart" Target="../charts/char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nfluence of uncut chip thickness and cutting </a:t>
            </a:r>
            <a:r>
              <a:rPr lang="en-US" sz="2400" dirty="0" smtClean="0"/>
              <a:t>veloc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407FB7"/>
                </a:solidFill>
              </a:rPr>
              <a:t>Workpiece position 124 mm</a:t>
            </a:r>
            <a:endParaRPr lang="en-US" dirty="0">
              <a:solidFill>
                <a:srgbClr val="407FB7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feld 2"/>
              <p:cNvSpPr txBox="1"/>
              <p:nvPr/>
            </p:nvSpPr>
            <p:spPr>
              <a:xfrm>
                <a:off x="308484" y="847444"/>
                <a:ext cx="9289032" cy="394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/>
                  <a:t>a</a:t>
                </a:r>
                <a:r>
                  <a:rPr lang="en-US" baseline="-25000" dirty="0" smtClean="0"/>
                  <a:t>p </a:t>
                </a:r>
                <a:r>
                  <a:rPr lang="en-US" dirty="0" smtClean="0"/>
                  <a:t>= 3,5 mm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𝛾</m:t>
                    </m:r>
                  </m:oMath>
                </a14:m>
                <a:r>
                  <a:rPr lang="en-US" dirty="0" smtClean="0"/>
                  <a:t> = 6°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𝛼</m:t>
                    </m:r>
                  </m:oMath>
                </a14:m>
                <a:r>
                  <a:rPr lang="en-US" dirty="0" smtClean="0"/>
                  <a:t> = 3°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  <a:ea typeface="Cambria Math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dirty="0" smtClean="0"/>
                  <a:t> = 0,</a:t>
                </a:r>
                <a:r>
                  <a:rPr lang="en-US" dirty="0"/>
                  <a:t> </a:t>
                </a:r>
                <a:r>
                  <a:rPr lang="en-US" dirty="0" smtClean="0"/>
                  <a:t>uncoated, workpiece position: 124 mm</a:t>
                </a:r>
                <a:endParaRPr lang="en-US" dirty="0"/>
              </a:p>
            </p:txBody>
          </p:sp>
        </mc:Choice>
        <mc:Fallback xmlns="">
          <p:sp>
            <p:nvSpPr>
              <p:cNvPr id="3" name="Textfeld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8484" y="847444"/>
                <a:ext cx="9289032" cy="394082"/>
              </a:xfrm>
              <a:prstGeom prst="rect">
                <a:avLst/>
              </a:prstGeom>
              <a:blipFill rotWithShape="1">
                <a:blip r:embed="rId2"/>
                <a:stretch>
                  <a:fillRect t="-7692" b="-1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Diagram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863882"/>
              </p:ext>
            </p:extLst>
          </p:nvPr>
        </p:nvGraphicFramePr>
        <p:xfrm>
          <a:off x="200472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Diagramm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4407818"/>
              </p:ext>
            </p:extLst>
          </p:nvPr>
        </p:nvGraphicFramePr>
        <p:xfrm>
          <a:off x="322480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Diagram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8379769"/>
              </p:ext>
            </p:extLst>
          </p:nvPr>
        </p:nvGraphicFramePr>
        <p:xfrm>
          <a:off x="200472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Diagram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3139489"/>
              </p:ext>
            </p:extLst>
          </p:nvPr>
        </p:nvGraphicFramePr>
        <p:xfrm>
          <a:off x="628514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" name="Diagramm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2241585"/>
              </p:ext>
            </p:extLst>
          </p:nvPr>
        </p:nvGraphicFramePr>
        <p:xfrm>
          <a:off x="628514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Textfeld 15"/>
          <p:cNvSpPr txBox="1"/>
          <p:nvPr/>
        </p:nvSpPr>
        <p:spPr>
          <a:xfrm>
            <a:off x="2648744" y="1325121"/>
            <a:ext cx="8280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h</a:t>
            </a:r>
            <a:r>
              <a:rPr lang="de-DE" sz="1200" baseline="-25000" dirty="0" smtClean="0"/>
              <a:t>sp </a:t>
            </a:r>
            <a:r>
              <a:rPr lang="de-DE" sz="1200" dirty="0" smtClean="0"/>
              <a:t> [µm]</a:t>
            </a:r>
            <a:endParaRPr lang="de-DE" sz="1200" dirty="0"/>
          </a:p>
          <a:p>
            <a:endParaRPr lang="de-DE" sz="1200" dirty="0"/>
          </a:p>
        </p:txBody>
      </p:sp>
      <p:sp>
        <p:nvSpPr>
          <p:cNvPr id="17" name="Textfeld 16"/>
          <p:cNvSpPr txBox="1"/>
          <p:nvPr/>
        </p:nvSpPr>
        <p:spPr>
          <a:xfrm>
            <a:off x="3650036" y="5481228"/>
            <a:ext cx="29163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utting velocity [m/min]</a:t>
            </a:r>
            <a:endParaRPr lang="en-US" sz="1100" b="1" dirty="0"/>
          </a:p>
        </p:txBody>
      </p:sp>
      <p:graphicFrame>
        <p:nvGraphicFramePr>
          <p:cNvPr id="12" name="Diagramm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4279986"/>
              </p:ext>
            </p:extLst>
          </p:nvPr>
        </p:nvGraphicFramePr>
        <p:xfrm>
          <a:off x="322480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662609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218279" y="0"/>
            <a:ext cx="9467850" cy="719138"/>
          </a:xfrm>
        </p:spPr>
        <p:txBody>
          <a:bodyPr/>
          <a:lstStyle/>
          <a:p>
            <a:r>
              <a:rPr lang="en-US" sz="2400" dirty="0"/>
              <a:t>Influence of uncut chip thickness and cutting </a:t>
            </a:r>
            <a:r>
              <a:rPr lang="en-US" sz="2400" dirty="0" smtClean="0"/>
              <a:t>veloc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407FB7"/>
                </a:solidFill>
              </a:rPr>
              <a:t>Workpiece position 200 mm</a:t>
            </a:r>
            <a:endParaRPr lang="en-US" dirty="0">
              <a:solidFill>
                <a:srgbClr val="407FB7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/>
              <p:cNvSpPr txBox="1"/>
              <p:nvPr/>
            </p:nvSpPr>
            <p:spPr>
              <a:xfrm>
                <a:off x="308484" y="847444"/>
                <a:ext cx="9289032" cy="394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/>
                  <a:t>a</a:t>
                </a:r>
                <a:r>
                  <a:rPr lang="en-US" baseline="-25000" dirty="0" smtClean="0"/>
                  <a:t>p </a:t>
                </a:r>
                <a:r>
                  <a:rPr lang="en-US" dirty="0" smtClean="0"/>
                  <a:t>= 3,5 mm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𝛾</m:t>
                    </m:r>
                  </m:oMath>
                </a14:m>
                <a:r>
                  <a:rPr lang="en-US" dirty="0" smtClean="0"/>
                  <a:t> = 6°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𝛼</m:t>
                    </m:r>
                  </m:oMath>
                </a14:m>
                <a:r>
                  <a:rPr lang="en-US" dirty="0" smtClean="0"/>
                  <a:t> = 3°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  <a:ea typeface="Cambria Math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dirty="0" smtClean="0"/>
                  <a:t> = 0, uncoated, workpiece </a:t>
                </a:r>
                <a:r>
                  <a:rPr lang="en-US" dirty="0"/>
                  <a:t>position: </a:t>
                </a:r>
                <a:r>
                  <a:rPr lang="en-US" dirty="0" smtClean="0"/>
                  <a:t>200 mm</a:t>
                </a:r>
                <a:endParaRPr lang="en-US" dirty="0"/>
              </a:p>
            </p:txBody>
          </p:sp>
        </mc:Choice>
        <mc:Fallback xmlns="">
          <p:sp>
            <p:nvSpPr>
              <p:cNvPr id="4" name="Textfeld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8484" y="847444"/>
                <a:ext cx="9289032" cy="394082"/>
              </a:xfrm>
              <a:prstGeom prst="rect">
                <a:avLst/>
              </a:prstGeom>
              <a:blipFill rotWithShape="1">
                <a:blip r:embed="rId2"/>
                <a:stretch>
                  <a:fillRect t="-7692" b="-1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7" name="Diagramm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775673"/>
              </p:ext>
            </p:extLst>
          </p:nvPr>
        </p:nvGraphicFramePr>
        <p:xfrm>
          <a:off x="200472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8859435"/>
              </p:ext>
            </p:extLst>
          </p:nvPr>
        </p:nvGraphicFramePr>
        <p:xfrm>
          <a:off x="200472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Diagramm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7191386"/>
              </p:ext>
            </p:extLst>
          </p:nvPr>
        </p:nvGraphicFramePr>
        <p:xfrm>
          <a:off x="322480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0" name="Diagramm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3205589"/>
              </p:ext>
            </p:extLst>
          </p:nvPr>
        </p:nvGraphicFramePr>
        <p:xfrm>
          <a:off x="628514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Diagramm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63005"/>
              </p:ext>
            </p:extLst>
          </p:nvPr>
        </p:nvGraphicFramePr>
        <p:xfrm>
          <a:off x="628514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Diagramm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5538588"/>
              </p:ext>
            </p:extLst>
          </p:nvPr>
        </p:nvGraphicFramePr>
        <p:xfrm>
          <a:off x="322480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9" name="Textfeld 18"/>
          <p:cNvSpPr txBox="1"/>
          <p:nvPr/>
        </p:nvSpPr>
        <p:spPr>
          <a:xfrm>
            <a:off x="2648744" y="1325121"/>
            <a:ext cx="8280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h</a:t>
            </a:r>
            <a:r>
              <a:rPr lang="de-DE" sz="1200" baseline="-25000" dirty="0" smtClean="0"/>
              <a:t>sp </a:t>
            </a:r>
            <a:r>
              <a:rPr lang="de-DE" sz="1200" dirty="0" smtClean="0"/>
              <a:t> [µm]</a:t>
            </a:r>
            <a:endParaRPr lang="de-DE" sz="1200" dirty="0"/>
          </a:p>
          <a:p>
            <a:endParaRPr lang="de-DE" sz="1200" dirty="0"/>
          </a:p>
        </p:txBody>
      </p:sp>
      <p:sp>
        <p:nvSpPr>
          <p:cNvPr id="22" name="Textfeld 21"/>
          <p:cNvSpPr txBox="1"/>
          <p:nvPr/>
        </p:nvSpPr>
        <p:spPr>
          <a:xfrm>
            <a:off x="3650036" y="5481228"/>
            <a:ext cx="29163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utting velocity [m/min]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162234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en-US" sz="2400" dirty="0"/>
              <a:t>Influence of uncut chip thickness and cutting </a:t>
            </a:r>
            <a:r>
              <a:rPr lang="en-US" sz="2400" dirty="0" smtClean="0"/>
              <a:t>veloc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407FB7"/>
                </a:solidFill>
              </a:rPr>
              <a:t>Workpiece position 34 mm (ACF)</a:t>
            </a:r>
            <a:endParaRPr lang="en-US" dirty="0">
              <a:solidFill>
                <a:srgbClr val="407FB7"/>
              </a:solidFill>
            </a:endParaRPr>
          </a:p>
        </p:txBody>
      </p:sp>
      <p:graphicFrame>
        <p:nvGraphicFramePr>
          <p:cNvPr id="11" name="Diagram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4096057"/>
              </p:ext>
            </p:extLst>
          </p:nvPr>
        </p:nvGraphicFramePr>
        <p:xfrm>
          <a:off x="200472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Diagramm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1053907"/>
              </p:ext>
            </p:extLst>
          </p:nvPr>
        </p:nvGraphicFramePr>
        <p:xfrm>
          <a:off x="322480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Diagramm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2277302"/>
              </p:ext>
            </p:extLst>
          </p:nvPr>
        </p:nvGraphicFramePr>
        <p:xfrm>
          <a:off x="628514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Diagramm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0244883"/>
              </p:ext>
            </p:extLst>
          </p:nvPr>
        </p:nvGraphicFramePr>
        <p:xfrm>
          <a:off x="200472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Diagramm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3140486"/>
              </p:ext>
            </p:extLst>
          </p:nvPr>
        </p:nvGraphicFramePr>
        <p:xfrm>
          <a:off x="322480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Diagramm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7347139"/>
              </p:ext>
            </p:extLst>
          </p:nvPr>
        </p:nvGraphicFramePr>
        <p:xfrm>
          <a:off x="628514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feld 21"/>
              <p:cNvSpPr txBox="1"/>
              <p:nvPr/>
            </p:nvSpPr>
            <p:spPr>
              <a:xfrm>
                <a:off x="70426" y="847444"/>
                <a:ext cx="9741532" cy="394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/>
                  <a:t>a</a:t>
                </a:r>
                <a:r>
                  <a:rPr lang="en-US" baseline="-25000" dirty="0" smtClean="0"/>
                  <a:t>p </a:t>
                </a:r>
                <a:r>
                  <a:rPr lang="en-US" dirty="0" smtClean="0"/>
                  <a:t>= 2,8 mm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𝛾</m:t>
                    </m:r>
                  </m:oMath>
                </a14:m>
                <a:r>
                  <a:rPr lang="en-US" dirty="0" smtClean="0"/>
                  <a:t> = 6°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𝛼</m:t>
                    </m:r>
                  </m:oMath>
                </a14:m>
                <a:r>
                  <a:rPr lang="en-US" dirty="0" smtClean="0"/>
                  <a:t> = 3°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  <a:ea typeface="Cambria Math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dirty="0" smtClean="0"/>
                  <a:t> = 66 µm, normalized, uncoated, workpiece </a:t>
                </a:r>
                <a:r>
                  <a:rPr lang="en-US" dirty="0"/>
                  <a:t>position: </a:t>
                </a:r>
                <a:r>
                  <a:rPr lang="en-US" dirty="0" smtClean="0"/>
                  <a:t>34mm</a:t>
                </a:r>
                <a:endParaRPr lang="en-US" dirty="0"/>
              </a:p>
            </p:txBody>
          </p:sp>
        </mc:Choice>
        <mc:Fallback xmlns="">
          <p:sp>
            <p:nvSpPr>
              <p:cNvPr id="22" name="Textfeld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426" y="847444"/>
                <a:ext cx="9741532" cy="394082"/>
              </a:xfrm>
              <a:prstGeom prst="rect">
                <a:avLst/>
              </a:prstGeom>
              <a:blipFill rotWithShape="1">
                <a:blip r:embed="rId8"/>
                <a:stretch>
                  <a:fillRect t="-7692" b="-1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560356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5200724"/>
              </p:ext>
            </p:extLst>
          </p:nvPr>
        </p:nvGraphicFramePr>
        <p:xfrm>
          <a:off x="200472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en-US" sz="2400" dirty="0"/>
              <a:t>Influence of uncut chip thickness and cutting </a:t>
            </a:r>
            <a:r>
              <a:rPr lang="en-US" sz="2400" dirty="0" smtClean="0"/>
              <a:t>veloc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407FB7"/>
                </a:solidFill>
              </a:rPr>
              <a:t>Workpiece position 80 mm (ACF)</a:t>
            </a:r>
            <a:endParaRPr lang="en-US" dirty="0">
              <a:solidFill>
                <a:srgbClr val="407FB7"/>
              </a:solidFill>
            </a:endParaRPr>
          </a:p>
        </p:txBody>
      </p:sp>
      <p:graphicFrame>
        <p:nvGraphicFramePr>
          <p:cNvPr id="17" name="Diagramm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4435438"/>
              </p:ext>
            </p:extLst>
          </p:nvPr>
        </p:nvGraphicFramePr>
        <p:xfrm>
          <a:off x="322480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Diagramm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1942015"/>
              </p:ext>
            </p:extLst>
          </p:nvPr>
        </p:nvGraphicFramePr>
        <p:xfrm>
          <a:off x="628514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Diagram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6225162"/>
              </p:ext>
            </p:extLst>
          </p:nvPr>
        </p:nvGraphicFramePr>
        <p:xfrm>
          <a:off x="200472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Diagramm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1128329"/>
              </p:ext>
            </p:extLst>
          </p:nvPr>
        </p:nvGraphicFramePr>
        <p:xfrm>
          <a:off x="322480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" name="Diagramm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1200718"/>
              </p:ext>
            </p:extLst>
          </p:nvPr>
        </p:nvGraphicFramePr>
        <p:xfrm>
          <a:off x="628514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/>
              <p:cNvSpPr txBox="1"/>
              <p:nvPr/>
            </p:nvSpPr>
            <p:spPr>
              <a:xfrm>
                <a:off x="110170" y="847444"/>
                <a:ext cx="9741532" cy="394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/>
                  <a:t>a</a:t>
                </a:r>
                <a:r>
                  <a:rPr lang="en-US" baseline="-25000" dirty="0" smtClean="0"/>
                  <a:t>p </a:t>
                </a:r>
                <a:r>
                  <a:rPr lang="en-US" dirty="0" smtClean="0"/>
                  <a:t>= 2,8 mm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𝛾</m:t>
                    </m:r>
                  </m:oMath>
                </a14:m>
                <a:r>
                  <a:rPr lang="en-US" dirty="0" smtClean="0"/>
                  <a:t> = 6°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𝛼</m:t>
                    </m:r>
                  </m:oMath>
                </a14:m>
                <a:r>
                  <a:rPr lang="en-US" dirty="0" smtClean="0"/>
                  <a:t> = 3°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  <a:ea typeface="Cambria Math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dirty="0" smtClean="0"/>
                  <a:t> = 66 µm, normalized, uncoated, workpiece </a:t>
                </a:r>
                <a:r>
                  <a:rPr lang="en-US" dirty="0"/>
                  <a:t>position: </a:t>
                </a:r>
                <a:r>
                  <a:rPr lang="en-US" dirty="0" smtClean="0"/>
                  <a:t>80 mm</a:t>
                </a:r>
                <a:endParaRPr lang="en-US" dirty="0"/>
              </a:p>
            </p:txBody>
          </p:sp>
        </mc:Choice>
        <mc:Fallback xmlns="">
          <p:sp>
            <p:nvSpPr>
              <p:cNvPr id="23" name="Textfeld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170" y="847444"/>
                <a:ext cx="9741532" cy="394082"/>
              </a:xfrm>
              <a:prstGeom prst="rect">
                <a:avLst/>
              </a:prstGeom>
              <a:blipFill rotWithShape="1">
                <a:blip r:embed="rId8"/>
                <a:stretch>
                  <a:fillRect t="-7692" b="-1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1356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en-US" sz="2400" dirty="0"/>
              <a:t>Influence of uncut chip thickness and cutting </a:t>
            </a:r>
            <a:r>
              <a:rPr lang="en-US" sz="2400" dirty="0" smtClean="0"/>
              <a:t>veloc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407FB7"/>
                </a:solidFill>
              </a:rPr>
              <a:t>Workpiece position 34 mm (ABA)</a:t>
            </a:r>
            <a:endParaRPr lang="en-US" dirty="0">
              <a:solidFill>
                <a:srgbClr val="407FB7"/>
              </a:solidFill>
            </a:endParaRPr>
          </a:p>
        </p:txBody>
      </p:sp>
      <p:graphicFrame>
        <p:nvGraphicFramePr>
          <p:cNvPr id="17" name="Diagramm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9405697"/>
              </p:ext>
            </p:extLst>
          </p:nvPr>
        </p:nvGraphicFramePr>
        <p:xfrm>
          <a:off x="628514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8017177"/>
              </p:ext>
            </p:extLst>
          </p:nvPr>
        </p:nvGraphicFramePr>
        <p:xfrm>
          <a:off x="200472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Diagramm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3011442"/>
              </p:ext>
            </p:extLst>
          </p:nvPr>
        </p:nvGraphicFramePr>
        <p:xfrm>
          <a:off x="322480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Diagramm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7547399"/>
              </p:ext>
            </p:extLst>
          </p:nvPr>
        </p:nvGraphicFramePr>
        <p:xfrm>
          <a:off x="628514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Diagramm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2125761"/>
              </p:ext>
            </p:extLst>
          </p:nvPr>
        </p:nvGraphicFramePr>
        <p:xfrm>
          <a:off x="322480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Diagramm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4517303"/>
              </p:ext>
            </p:extLst>
          </p:nvPr>
        </p:nvGraphicFramePr>
        <p:xfrm>
          <a:off x="200472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/>
              <p:cNvSpPr txBox="1"/>
              <p:nvPr/>
            </p:nvSpPr>
            <p:spPr>
              <a:xfrm>
                <a:off x="164468" y="847444"/>
                <a:ext cx="9577064" cy="394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/>
                  <a:t>a</a:t>
                </a:r>
                <a:r>
                  <a:rPr lang="en-US" baseline="-25000" dirty="0" smtClean="0"/>
                  <a:t>p </a:t>
                </a:r>
                <a:r>
                  <a:rPr lang="en-US" dirty="0" smtClean="0"/>
                  <a:t>= 2,8 mm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𝛾</m:t>
                    </m:r>
                  </m:oMath>
                </a14:m>
                <a:r>
                  <a:rPr lang="en-US" dirty="0" smtClean="0"/>
                  <a:t> = 6°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𝛼</m:t>
                    </m:r>
                  </m:oMath>
                </a14:m>
                <a:r>
                  <a:rPr lang="en-US" dirty="0" smtClean="0"/>
                  <a:t> = 3°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  <a:ea typeface="Cambria Math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dirty="0" smtClean="0"/>
                  <a:t> = 66 µm, tempered, uncoated, workpiece </a:t>
                </a:r>
                <a:r>
                  <a:rPr lang="en-US" dirty="0"/>
                  <a:t>position: </a:t>
                </a:r>
                <a:r>
                  <a:rPr lang="en-US" dirty="0" smtClean="0"/>
                  <a:t>34 mm</a:t>
                </a:r>
                <a:endParaRPr lang="en-US" dirty="0"/>
              </a:p>
            </p:txBody>
          </p:sp>
        </mc:Choice>
        <mc:Fallback xmlns="">
          <p:sp>
            <p:nvSpPr>
              <p:cNvPr id="14" name="Textfeld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468" y="847444"/>
                <a:ext cx="9577064" cy="394082"/>
              </a:xfrm>
              <a:prstGeom prst="rect">
                <a:avLst/>
              </a:prstGeom>
              <a:blipFill rotWithShape="1">
                <a:blip r:embed="rId8"/>
                <a:stretch>
                  <a:fillRect t="-7692" b="-1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572976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en-US" sz="2400" dirty="0"/>
              <a:t>Influence of uncut chip thickness and cutting </a:t>
            </a:r>
            <a:r>
              <a:rPr lang="en-US" sz="2400" dirty="0" smtClean="0"/>
              <a:t>veloc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407FB7"/>
                </a:solidFill>
              </a:rPr>
              <a:t>Workpiece position 80 mm (ABA)</a:t>
            </a:r>
            <a:endParaRPr lang="en-US" dirty="0">
              <a:solidFill>
                <a:srgbClr val="407FB7"/>
              </a:solidFill>
            </a:endParaRPr>
          </a:p>
        </p:txBody>
      </p:sp>
      <p:graphicFrame>
        <p:nvGraphicFramePr>
          <p:cNvPr id="16" name="Diagramm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0939710"/>
              </p:ext>
            </p:extLst>
          </p:nvPr>
        </p:nvGraphicFramePr>
        <p:xfrm>
          <a:off x="628514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Diagram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4128828"/>
              </p:ext>
            </p:extLst>
          </p:nvPr>
        </p:nvGraphicFramePr>
        <p:xfrm>
          <a:off x="200472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Diagram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3872961"/>
              </p:ext>
            </p:extLst>
          </p:nvPr>
        </p:nvGraphicFramePr>
        <p:xfrm>
          <a:off x="322480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Diagramm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1292963"/>
              </p:ext>
            </p:extLst>
          </p:nvPr>
        </p:nvGraphicFramePr>
        <p:xfrm>
          <a:off x="6285148" y="1241526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Diagram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8151327"/>
              </p:ext>
            </p:extLst>
          </p:nvPr>
        </p:nvGraphicFramePr>
        <p:xfrm>
          <a:off x="3224808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Diagramm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3566273"/>
              </p:ext>
            </p:extLst>
          </p:nvPr>
        </p:nvGraphicFramePr>
        <p:xfrm>
          <a:off x="200472" y="3332620"/>
          <a:ext cx="3060340" cy="234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/>
              <p:cNvSpPr txBox="1"/>
              <p:nvPr/>
            </p:nvSpPr>
            <p:spPr>
              <a:xfrm>
                <a:off x="164468" y="847444"/>
                <a:ext cx="9577064" cy="394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 smtClean="0"/>
                  <a:t>a</a:t>
                </a:r>
                <a:r>
                  <a:rPr lang="en-US" baseline="-25000" dirty="0" smtClean="0"/>
                  <a:t>p </a:t>
                </a:r>
                <a:r>
                  <a:rPr lang="en-US" dirty="0" smtClean="0"/>
                  <a:t>= 2,8 mm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𝛾</m:t>
                    </m:r>
                  </m:oMath>
                </a14:m>
                <a:r>
                  <a:rPr lang="en-US" dirty="0" smtClean="0"/>
                  <a:t> = 6°,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𝛼</m:t>
                    </m:r>
                  </m:oMath>
                </a14:m>
                <a:r>
                  <a:rPr lang="en-US" dirty="0" smtClean="0"/>
                  <a:t> = 3°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  <a:ea typeface="Cambria Math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dirty="0" smtClean="0"/>
                  <a:t> = 66 µm, tempered, uncoated, workpiece </a:t>
                </a:r>
                <a:r>
                  <a:rPr lang="en-US" dirty="0"/>
                  <a:t>position: </a:t>
                </a:r>
                <a:r>
                  <a:rPr lang="en-US" dirty="0" smtClean="0"/>
                  <a:t>80 mm</a:t>
                </a:r>
                <a:endParaRPr lang="en-US" dirty="0"/>
              </a:p>
            </p:txBody>
          </p:sp>
        </mc:Choice>
        <mc:Fallback xmlns="">
          <p:sp>
            <p:nvSpPr>
              <p:cNvPr id="13" name="Textfeld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468" y="847444"/>
                <a:ext cx="9577064" cy="394082"/>
              </a:xfrm>
              <a:prstGeom prst="rect">
                <a:avLst/>
              </a:prstGeom>
              <a:blipFill rotWithShape="1">
                <a:blip r:embed="rId8"/>
                <a:stretch>
                  <a:fillRect t="-7692" b="-1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905413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ZL</Template>
  <TotalTime>0</TotalTime>
  <Words>479</Words>
  <Application>Microsoft Office PowerPoint</Application>
  <PresentationFormat>A4-Papier (210x297 mm)</PresentationFormat>
  <Paragraphs>52</Paragraphs>
  <Slides>6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8" baseType="lpstr">
      <vt:lpstr>wzl</vt:lpstr>
      <vt:lpstr>think-cell Folie</vt:lpstr>
      <vt:lpstr>Influence of uncut chip thickness and cutting velocity Workpiece position 124 mm</vt:lpstr>
      <vt:lpstr>Influence of uncut chip thickness and cutting velocity Workpiece position 200 mm</vt:lpstr>
      <vt:lpstr>Influence of uncut chip thickness and cutting velocity Workpiece position 34 mm (ACF)</vt:lpstr>
      <vt:lpstr>Influence of uncut chip thickness and cutting velocity Workpiece position 80 mm (ACF)</vt:lpstr>
      <vt:lpstr>Influence of uncut chip thickness and cutting velocity Workpiece position 34 mm (ABA)</vt:lpstr>
      <vt:lpstr>Influence of uncut chip thickness and cutting velocity Workpiece position 80 mm (ABA)</vt:lpstr>
    </vt:vector>
  </TitlesOfParts>
  <Manager/>
  <Company>WZL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luence of uncut chip thickness and cutting velocity for mean values.pptx</dc:title>
  <dc:subject/>
  <dc:creator>Adriana Nunes Chaves Lima</dc:creator>
  <cp:keywords/>
  <dc:description/>
  <cp:lastModifiedBy>Adriana Nunes Chaves Lima</cp:lastModifiedBy>
  <cp:revision>7</cp:revision>
  <dcterms:created xsi:type="dcterms:W3CDTF">2016-04-15T09:54:44Z</dcterms:created>
  <dcterms:modified xsi:type="dcterms:W3CDTF">2016-04-15T12:33:41Z</dcterms:modified>
  <cp:category/>
</cp:coreProperties>
</file>